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media/image31.jpg" ContentType="image/gif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9" r:id="rId1"/>
  </p:sldMasterIdLst>
  <p:notesMasterIdLst>
    <p:notesMasterId r:id="rId55"/>
  </p:notesMasterIdLst>
  <p:handoutMasterIdLst>
    <p:handoutMasterId r:id="rId56"/>
  </p:handoutMasterIdLst>
  <p:sldIdLst>
    <p:sldId id="307" r:id="rId2"/>
    <p:sldId id="276" r:id="rId3"/>
    <p:sldId id="324" r:id="rId4"/>
    <p:sldId id="279" r:id="rId5"/>
    <p:sldId id="325" r:id="rId6"/>
    <p:sldId id="283" r:id="rId7"/>
    <p:sldId id="319" r:id="rId8"/>
    <p:sldId id="320" r:id="rId9"/>
    <p:sldId id="281" r:id="rId10"/>
    <p:sldId id="285" r:id="rId11"/>
    <p:sldId id="327" r:id="rId12"/>
    <p:sldId id="328" r:id="rId13"/>
    <p:sldId id="326" r:id="rId14"/>
    <p:sldId id="313" r:id="rId15"/>
    <p:sldId id="280" r:id="rId16"/>
    <p:sldId id="277" r:id="rId17"/>
    <p:sldId id="284" r:id="rId18"/>
    <p:sldId id="275" r:id="rId19"/>
    <p:sldId id="278" r:id="rId20"/>
    <p:sldId id="282" r:id="rId21"/>
    <p:sldId id="309" r:id="rId22"/>
    <p:sldId id="295" r:id="rId23"/>
    <p:sldId id="289" r:id="rId24"/>
    <p:sldId id="290" r:id="rId25"/>
    <p:sldId id="291" r:id="rId26"/>
    <p:sldId id="292" r:id="rId27"/>
    <p:sldId id="293" r:id="rId28"/>
    <p:sldId id="294" r:id="rId29"/>
    <p:sldId id="286" r:id="rId30"/>
    <p:sldId id="287" r:id="rId31"/>
    <p:sldId id="288" r:id="rId32"/>
    <p:sldId id="296" r:id="rId33"/>
    <p:sldId id="321" r:id="rId34"/>
    <p:sldId id="322" r:id="rId35"/>
    <p:sldId id="297" r:id="rId36"/>
    <p:sldId id="298" r:id="rId37"/>
    <p:sldId id="299" r:id="rId38"/>
    <p:sldId id="300" r:id="rId39"/>
    <p:sldId id="304" r:id="rId40"/>
    <p:sldId id="305" r:id="rId41"/>
    <p:sldId id="311" r:id="rId42"/>
    <p:sldId id="303" r:id="rId43"/>
    <p:sldId id="302" r:id="rId44"/>
    <p:sldId id="301" r:id="rId45"/>
    <p:sldId id="308" r:id="rId46"/>
    <p:sldId id="312" r:id="rId47"/>
    <p:sldId id="323" r:id="rId48"/>
    <p:sldId id="310" r:id="rId49"/>
    <p:sldId id="317" r:id="rId50"/>
    <p:sldId id="315" r:id="rId51"/>
    <p:sldId id="314" r:id="rId52"/>
    <p:sldId id="318" r:id="rId53"/>
    <p:sldId id="306" r:id="rId54"/>
  </p:sldIdLst>
  <p:sldSz cx="11522075" cy="6480175"/>
  <p:notesSz cx="6858000" cy="9144000"/>
  <p:custDataLst>
    <p:tags r:id="rId57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orient="horz" pos="204">
          <p15:clr>
            <a:srgbClr val="A4A3A4"/>
          </p15:clr>
        </p15:guide>
        <p15:guide id="8" orient="horz" pos="2041" userDrawn="1">
          <p15:clr>
            <a:srgbClr val="A4A3A4"/>
          </p15:clr>
        </p15:guide>
        <p15:guide id="9" orient="horz" pos="930" userDrawn="1">
          <p15:clr>
            <a:srgbClr val="A4A3A4"/>
          </p15:clr>
        </p15:guide>
        <p15:guide id="10" orient="horz" pos="3266" userDrawn="1">
          <p15:clr>
            <a:srgbClr val="A4A3A4"/>
          </p15:clr>
        </p15:guide>
        <p15:guide id="11" orient="horz" pos="703" userDrawn="1">
          <p15:clr>
            <a:srgbClr val="A4A3A4"/>
          </p15:clr>
        </p15:guide>
        <p15:guide id="12" orient="horz" pos="3493" userDrawn="1">
          <p15:clr>
            <a:srgbClr val="A4A3A4"/>
          </p15:clr>
        </p15:guide>
        <p15:guide id="13" orient="horz" pos="3719" userDrawn="1">
          <p15:clr>
            <a:srgbClr val="A4A3A4"/>
          </p15:clr>
        </p15:guide>
        <p15:guide id="14" orient="horz" pos="3878" userDrawn="1">
          <p15:clr>
            <a:srgbClr val="A4A3A4"/>
          </p15:clr>
        </p15:guide>
        <p15:guide id="15" pos="1939" userDrawn="1">
          <p15:clr>
            <a:srgbClr val="A4A3A4"/>
          </p15:clr>
        </p15:guide>
        <p15:guide id="16" pos="1847" userDrawn="1">
          <p15:clr>
            <a:srgbClr val="A4A3A4"/>
          </p15:clr>
        </p15:guide>
        <p15:guide id="17" pos="204" userDrawn="1">
          <p15:clr>
            <a:srgbClr val="A4A3A4"/>
          </p15:clr>
        </p15:guide>
        <p15:guide id="18" pos="7054" userDrawn="1">
          <p15:clr>
            <a:srgbClr val="A4A3A4"/>
          </p15:clr>
        </p15:guide>
        <p15:guide id="19" pos="5411" userDrawn="1">
          <p15:clr>
            <a:srgbClr val="A4A3A4"/>
          </p15:clr>
        </p15:guide>
        <p15:guide id="20" pos="5318" userDrawn="1">
          <p15:clr>
            <a:srgbClr val="A4A3A4"/>
          </p15:clr>
        </p15:guide>
        <p15:guide id="21" pos="3674" userDrawn="1">
          <p15:clr>
            <a:srgbClr val="A4A3A4"/>
          </p15:clr>
        </p15:guide>
        <p15:guide id="22" pos="3584" userDrawn="1">
          <p15:clr>
            <a:srgbClr val="A4A3A4"/>
          </p15:clr>
        </p15:guide>
        <p15:guide id="23" pos="362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pos="302">
          <p15:clr>
            <a:srgbClr val="A4A3A4"/>
          </p15:clr>
        </p15:guide>
        <p15:guide id="4" pos="401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da2" initials="d" lastIdx="6" clrIdx="0"/>
  <p:cmAuthor id="1" name="Dada" initials="DT" lastIdx="20" clrIdx="1"/>
  <p:cmAuthor id="2" name="Dada-Design" initials="D" lastIdx="4" clrIdx="2">
    <p:extLst>
      <p:ext uri="{19B8F6BF-5375-455C-9EA6-DF929625EA0E}">
        <p15:presenceInfo xmlns:p15="http://schemas.microsoft.com/office/powerpoint/2012/main" userId="S-1-5-21-2562659868-2832382953-3754756864-112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9D9"/>
    <a:srgbClr val="66FF66"/>
    <a:srgbClr val="E20074"/>
    <a:srgbClr val="E20000"/>
    <a:srgbClr val="992C99"/>
    <a:srgbClr val="4B4B4B"/>
    <a:srgbClr val="C4C4C4"/>
    <a:srgbClr val="00FFFF"/>
    <a:srgbClr val="E1E1E1"/>
    <a:srgbClr val="DEDE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20" autoAdjust="0"/>
  </p:normalViewPr>
  <p:slideViewPr>
    <p:cSldViewPr snapToGrid="0" snapToObjects="1">
      <p:cViewPr varScale="1">
        <p:scale>
          <a:sx n="91" d="100"/>
          <a:sy n="91" d="100"/>
        </p:scale>
        <p:origin x="470" y="77"/>
      </p:cViewPr>
      <p:guideLst>
        <p:guide orient="horz" pos="204"/>
        <p:guide orient="horz" pos="2041"/>
        <p:guide orient="horz" pos="930"/>
        <p:guide orient="horz" pos="3266"/>
        <p:guide orient="horz" pos="703"/>
        <p:guide orient="horz" pos="3493"/>
        <p:guide orient="horz" pos="3719"/>
        <p:guide orient="horz" pos="3878"/>
        <p:guide pos="1939"/>
        <p:guide pos="1847"/>
        <p:guide pos="204"/>
        <p:guide pos="7054"/>
        <p:guide pos="5411"/>
        <p:guide pos="5318"/>
        <p:guide pos="3674"/>
        <p:guide pos="3584"/>
        <p:guide pos="362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45" d="100"/>
          <a:sy n="45" d="100"/>
        </p:scale>
        <p:origin x="-2970" y="-96"/>
      </p:cViewPr>
      <p:guideLst>
        <p:guide orient="horz" pos="2880"/>
        <p:guide pos="2160"/>
        <p:guide pos="302"/>
        <p:guide pos="401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ags" Target="tags/tag1.xml"/><Relationship Id="rId61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906975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#›</a:t>
            </a:fld>
            <a:endParaRPr lang="de-DE" dirty="0">
              <a:latin typeface="Tele-GroteskNor" pitchFamily="2" charset="0"/>
            </a:endParaRPr>
          </a:p>
        </p:txBody>
      </p:sp>
      <p:grpSp>
        <p:nvGrpSpPr>
          <p:cNvPr id="6" name="Gruppieren 31"/>
          <p:cNvGrpSpPr>
            <a:grpSpLocks noChangeAspect="1"/>
          </p:cNvGrpSpPr>
          <p:nvPr/>
        </p:nvGrpSpPr>
        <p:grpSpPr bwMode="auto">
          <a:xfrm>
            <a:off x="482600" y="241300"/>
            <a:ext cx="5857875" cy="258763"/>
            <a:chOff x="321317" y="6153149"/>
            <a:chExt cx="8498833" cy="371475"/>
          </a:xfrm>
        </p:grpSpPr>
        <p:sp>
          <p:nvSpPr>
            <p:cNvPr id="7" name="Freeform 9"/>
            <p:cNvSpPr>
              <a:spLocks noChangeAspect="1" noEditPoints="1"/>
            </p:cNvSpPr>
            <p:nvPr userDrawn="1"/>
          </p:nvSpPr>
          <p:spPr bwMode="auto">
            <a:xfrm>
              <a:off x="7309246" y="6310400"/>
              <a:ext cx="1510904" cy="12078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  <p:sp>
          <p:nvSpPr>
            <p:cNvPr id="8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058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78800" y="371599"/>
            <a:ext cx="5900400" cy="3318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8800" y="3876675"/>
            <a:ext cx="5900400" cy="458152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Textmasterformate durch Klicken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907600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31B8DFA5-5297-4A90-A936-B42D90409571}" type="datetimeFigureOut">
              <a:rPr lang="de-DE"/>
              <a:pPr/>
              <a:t>21.08.2020</a:t>
            </a:fld>
            <a:endParaRPr lang="de-DE"/>
          </a:p>
        </p:txBody>
      </p:sp>
      <p:sp>
        <p:nvSpPr>
          <p:cNvPr id="210946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79425" y="371475"/>
            <a:ext cx="5899150" cy="3319463"/>
          </a:xfrm>
          <a:noFill/>
          <a:ln>
            <a:miter lim="800000"/>
            <a:headEnd/>
            <a:tailEnd/>
          </a:ln>
        </p:spPr>
      </p:sp>
      <p:sp>
        <p:nvSpPr>
          <p:cNvPr id="210947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77790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5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5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4.emf"/><Relationship Id="rId5" Type="http://schemas.openxmlformats.org/officeDocument/2006/relationships/tags" Target="../tags/tag8.xml"/><Relationship Id="rId10" Type="http://schemas.openxmlformats.org/officeDocument/2006/relationships/image" Target="../media/image3.emf"/><Relationship Id="rId4" Type="http://schemas.openxmlformats.org/officeDocument/2006/relationships/tags" Target="../tags/tag7.xml"/><Relationship Id="rId9" Type="http://schemas.openxmlformats.org/officeDocument/2006/relationships/image" Target="../media/image6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411589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36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6231" y="1350000"/>
            <a:ext cx="10872000" cy="2192831"/>
          </a:xfrm>
        </p:spPr>
        <p:txBody>
          <a:bodyPr/>
          <a:lstStyle>
            <a:lvl1pPr>
              <a:defRPr sz="48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(Ultra)</a:t>
            </a:r>
            <a:br>
              <a:rPr lang="en-US" dirty="0"/>
            </a:br>
            <a:r>
              <a:rPr lang="en-US" sz="4800" dirty="0">
                <a:latin typeface="TeleGrotesk Headline" pitchFamily="2" charset="0"/>
              </a:rPr>
              <a:t>Maximum of 3 lines</a:t>
            </a:r>
            <a:br>
              <a:rPr lang="en-US" sz="4800" dirty="0">
                <a:latin typeface="TeleGrotesk Headline" pitchFamily="2" charset="0"/>
              </a:rPr>
            </a:br>
            <a:r>
              <a:rPr lang="en-US" sz="4800" dirty="0">
                <a:latin typeface="TeleGrotesk Headline" pitchFamily="2" charset="0"/>
              </a:rPr>
              <a:t>40 (48) 66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6229" y="3861246"/>
            <a:ext cx="10872000" cy="384080"/>
          </a:xfrm>
        </p:spPr>
        <p:txBody>
          <a:bodyPr wrap="square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dirty="0"/>
              <a:t>Sub-heading: </a:t>
            </a:r>
            <a:r>
              <a:rPr lang="en-US" dirty="0" err="1"/>
              <a:t>TeleGrotesk</a:t>
            </a:r>
            <a:r>
              <a:rPr lang="en-US" dirty="0"/>
              <a:t> Normal, 24 pt</a:t>
            </a:r>
          </a:p>
        </p:txBody>
      </p:sp>
      <p:pic>
        <p:nvPicPr>
          <p:cNvPr id="7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2" name="Grafik 31" descr="T_Logo_3c_Slogan_p_INT.emf"/>
          <p:cNvPicPr>
            <a:picLocks noChangeAspect="1"/>
          </p:cNvPicPr>
          <p:nvPr userDrawn="1"/>
        </p:nvPicPr>
        <p:blipFill>
          <a:blip r:embed="rId7"/>
          <a:srcRect r="60924"/>
          <a:stretch>
            <a:fillRect/>
          </a:stretch>
        </p:blipFill>
        <p:spPr>
          <a:xfrm>
            <a:off x="324000" y="5655600"/>
            <a:ext cx="1309728" cy="500400"/>
          </a:xfrm>
          <a:prstGeom prst="rect">
            <a:avLst/>
          </a:prstGeom>
        </p:spPr>
      </p:pic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7"/>
          <a:srcRect l="41258"/>
          <a:stretch>
            <a:fillRect/>
          </a:stretch>
        </p:blipFill>
        <p:spPr>
          <a:xfrm>
            <a:off x="9229344" y="5655600"/>
            <a:ext cx="1968882" cy="5004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8240067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41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120"/>
            <a:ext cx="11522072" cy="6478766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1809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959555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43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hidden">
          <a:xfrm>
            <a:off x="1" y="120"/>
            <a:ext cx="11522069" cy="6478765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7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4842167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86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1524578" cy="6480175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3413801"/>
            <a:ext cx="10872000" cy="2131337"/>
          </a:xfrm>
        </p:spPr>
        <p:txBody>
          <a:bodyPr anchor="b" anchorCtr="0"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4487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8245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10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1522075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8214540"/>
              </p:ext>
            </p:extLst>
          </p:nvPr>
        </p:nvGraphicFramePr>
        <p:xfrm>
          <a:off x="1589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07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832475" y="0"/>
            <a:ext cx="5689600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68763"/>
          </a:xfrm>
        </p:spPr>
        <p:txBody>
          <a:bodyPr anchor="ctr"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10114249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/>
              <a:t>dd.mm.yyyy</a:t>
            </a:r>
            <a:endParaRPr lang="en-US" noProof="0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7047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594423"/>
              </p:ext>
            </p:extLst>
          </p:nvPr>
        </p:nvGraphicFramePr>
        <p:xfrm>
          <a:off x="1590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57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832624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832625" y="1476374"/>
            <a:ext cx="5365600" cy="4068763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689600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10114249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/>
              <a:t>dd.mm.yyyy</a:t>
            </a:r>
            <a:endParaRPr lang="en-US" noProof="0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7047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6016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48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5518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50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9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7021355"/>
              </p:ext>
            </p:extLst>
          </p:nvPr>
        </p:nvGraphicFramePr>
        <p:xfrm>
          <a:off x="1590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68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8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476374"/>
            <a:ext cx="10872000" cy="406876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 baseline="0"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10114249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/>
              <a:t>dd.mm.yyyy</a:t>
            </a:r>
            <a:endParaRPr lang="en-US" noProof="0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7047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6503710"/>
              </p:ext>
            </p:extLst>
          </p:nvPr>
        </p:nvGraphicFramePr>
        <p:xfrm>
          <a:off x="1590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71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475" y="1476374"/>
            <a:ext cx="5364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0"/>
          </p:nvPr>
        </p:nvSpPr>
        <p:spPr bwMode="gray">
          <a:xfrm>
            <a:off x="10114249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/>
              <a:t>dd.mm.yyyy</a:t>
            </a:r>
            <a:endParaRPr lang="en-US" noProof="0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7047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had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5266245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89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3"/>
          <p:cNvSpPr>
            <a:spLocks/>
          </p:cNvSpPr>
          <p:nvPr userDrawn="1"/>
        </p:nvSpPr>
        <p:spPr bwMode="invGray">
          <a:xfrm>
            <a:off x="324000" y="2948089"/>
            <a:ext cx="10872000" cy="223668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24000" y="1841960"/>
            <a:ext cx="10416151" cy="334281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noProof="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8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24000" y="2153265"/>
            <a:ext cx="9719802" cy="3031510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4800"/>
              <a:t>TELEGROTESK Headline (ULTRA)</a:t>
            </a:r>
            <a:br>
              <a:rPr lang="en-US" sz="4800"/>
            </a:br>
            <a:r>
              <a:rPr lang="en-US" sz="4800">
                <a:latin typeface="TeleGrotesk Headline" pitchFamily="2" charset="0"/>
              </a:rPr>
              <a:t>Maximum of 3 lines</a:t>
            </a:r>
            <a:br>
              <a:rPr lang="en-US" sz="4800">
                <a:latin typeface="TeleGrotesk Headline" pitchFamily="2" charset="0"/>
              </a:rPr>
            </a:br>
            <a:r>
              <a:rPr lang="en-US" sz="4800">
                <a:latin typeface="TeleGrotesk Headline" pitchFamily="2" charset="0"/>
              </a:rPr>
              <a:t>40 (48) 60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23850" y="4536000"/>
            <a:ext cx="9719951" cy="384080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/>
              <a:t>Sub-heading: TeleGrotesk Normal, 24 pt</a:t>
            </a:r>
            <a:endParaRPr lang="en-US" dirty="0"/>
          </a:p>
        </p:txBody>
      </p:sp>
      <p:pic>
        <p:nvPicPr>
          <p:cNvPr id="32" name="Grafik 31" descr="T_Logo_3c_Slogan_p_INT.emf"/>
          <p:cNvPicPr>
            <a:picLocks noChangeAspect="1"/>
          </p:cNvPicPr>
          <p:nvPr userDrawn="1"/>
        </p:nvPicPr>
        <p:blipFill>
          <a:blip r:embed="rId7"/>
          <a:srcRect r="60924"/>
          <a:stretch>
            <a:fillRect/>
          </a:stretch>
        </p:blipFill>
        <p:spPr>
          <a:xfrm>
            <a:off x="324000" y="5655600"/>
            <a:ext cx="1309728" cy="500400"/>
          </a:xfrm>
          <a:prstGeom prst="rect">
            <a:avLst/>
          </a:prstGeom>
        </p:spPr>
      </p:pic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7"/>
          <a:srcRect l="43441"/>
          <a:stretch>
            <a:fillRect/>
          </a:stretch>
        </p:blipFill>
        <p:spPr>
          <a:xfrm>
            <a:off x="9302496" y="5655600"/>
            <a:ext cx="1895731" cy="5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931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0462381"/>
              </p:ext>
            </p:extLst>
          </p:nvPr>
        </p:nvGraphicFramePr>
        <p:xfrm>
          <a:off x="1590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01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3528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7668475" y="1476374"/>
            <a:ext cx="3528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996237" y="1476375"/>
            <a:ext cx="3528000" cy="406876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4"/>
          </p:nvPr>
        </p:nvSpPr>
        <p:spPr bwMode="gray">
          <a:xfrm>
            <a:off x="10114249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/>
              <a:t>dd.mm.yyyy</a:t>
            </a:r>
            <a:endParaRPr lang="en-US" noProof="0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7047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0063335"/>
              </p:ext>
            </p:extLst>
          </p:nvPr>
        </p:nvGraphicFramePr>
        <p:xfrm>
          <a:off x="1590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04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2610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316" y="1476374"/>
            <a:ext cx="2610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078158" y="1476375"/>
            <a:ext cx="2610000" cy="406876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475" y="1476374"/>
            <a:ext cx="2610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15"/>
          </p:nvPr>
        </p:nvSpPr>
        <p:spPr bwMode="gray">
          <a:xfrm>
            <a:off x="10114249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/>
              <a:t>dd.mm.yyyy</a:t>
            </a:r>
            <a:endParaRPr lang="en-US" noProof="0" dirty="0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7047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7873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88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49" y="1476374"/>
            <a:ext cx="5364787" cy="442753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Quotations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0" y="1476374"/>
            <a:ext cx="5364787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40873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91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3528000" cy="442753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Quotations/lead-in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996162" y="1476374"/>
            <a:ext cx="3528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7668475" y="1476374"/>
            <a:ext cx="3528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/>
              <a:t>Quotations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59776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93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2610000" cy="442753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Quotations/lead-in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078014" y="1476374"/>
            <a:ext cx="2610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1" y="1476374"/>
            <a:ext cx="2610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638" y="1476374"/>
            <a:ext cx="2610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baseline="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8006018"/>
              </p:ext>
            </p:extLst>
          </p:nvPr>
        </p:nvGraphicFramePr>
        <p:xfrm>
          <a:off x="1587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794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0" name="Picture 1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7" name="Grafik 36" descr="TKOM_39L_Grillen_7475.jpg"/>
          <p:cNvPicPr>
            <a:picLocks noChangeAspect="1"/>
          </p:cNvPicPr>
          <p:nvPr userDrawn="1"/>
        </p:nvPicPr>
        <p:blipFill>
          <a:blip r:embed="rId9"/>
          <a:srcRect b="15715"/>
          <a:stretch>
            <a:fillRect/>
          </a:stretch>
        </p:blipFill>
        <p:spPr>
          <a:xfrm>
            <a:off x="0" y="0"/>
            <a:ext cx="11520000" cy="6480175"/>
          </a:xfrm>
          <a:prstGeom prst="rect">
            <a:avLst/>
          </a:prstGeom>
        </p:spPr>
      </p:pic>
      <p:grpSp>
        <p:nvGrpSpPr>
          <p:cNvPr id="2" name="Group 19"/>
          <p:cNvGrpSpPr>
            <a:grpSpLocks/>
          </p:cNvGrpSpPr>
          <p:nvPr/>
        </p:nvGrpSpPr>
        <p:grpSpPr bwMode="gray">
          <a:xfrm>
            <a:off x="324000" y="2949576"/>
            <a:ext cx="10872956" cy="3206750"/>
            <a:chOff x="207" y="1858"/>
            <a:chExt cx="5365" cy="2020"/>
          </a:xfrm>
        </p:grpSpPr>
        <p:sp>
          <p:nvSpPr>
            <p:cNvPr id="15" name="Titel 3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207" y="2527"/>
              <a:ext cx="5365" cy="1351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6" name="Titel 3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207" y="1858"/>
              <a:ext cx="5157" cy="2020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7" name="Rectangle 4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10" y="2017"/>
              <a:ext cx="4873" cy="1861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 anchor="ctr"/>
            <a:lstStyle/>
            <a:p>
              <a:pPr defTabSz="457171" fontAlgn="base">
                <a:lnSpc>
                  <a:spcPts val="1799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itchFamily="2" charset="2"/>
                <a:buChar char="§"/>
              </a:pPr>
              <a:endParaRPr lang="en-US" sz="1800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itchFamily="34" charset="-128"/>
              </a:endParaRPr>
            </a:p>
          </p:txBody>
        </p:sp>
      </p:grpSp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323851" y="3200400"/>
            <a:ext cx="9886690" cy="1107996"/>
          </a:xfrm>
          <a:noFill/>
        </p:spPr>
        <p:txBody>
          <a:bodyPr wrap="square" lIns="143990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 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52" y="4536000"/>
            <a:ext cx="9886689" cy="384080"/>
          </a:xfrm>
        </p:spPr>
        <p:txBody>
          <a:bodyPr wrap="square" lIns="14399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/>
              <a:t>Sub-heading: TeleGrotesk Normal, 24 pt</a:t>
            </a:r>
            <a:endParaRPr lang="en-US" dirty="0"/>
          </a:p>
        </p:txBody>
      </p:sp>
      <p:pic>
        <p:nvPicPr>
          <p:cNvPr id="23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1" name="Picture 22" hidden="1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8" name="Grafik 37" descr="T_Logo_3c_Slogan_p_INT.emf"/>
          <p:cNvPicPr>
            <a:picLocks noChangeAspect="1"/>
          </p:cNvPicPr>
          <p:nvPr userDrawn="1"/>
        </p:nvPicPr>
        <p:blipFill>
          <a:blip r:embed="rId11"/>
          <a:srcRect r="60924"/>
          <a:stretch>
            <a:fillRect/>
          </a:stretch>
        </p:blipFill>
        <p:spPr>
          <a:xfrm>
            <a:off x="493712" y="5482054"/>
            <a:ext cx="1309728" cy="500400"/>
          </a:xfrm>
          <a:prstGeom prst="rect">
            <a:avLst/>
          </a:prstGeom>
        </p:spPr>
      </p:pic>
      <p:pic>
        <p:nvPicPr>
          <p:cNvPr id="39" name="Grafik 38" descr="T_Logo_3c_Slogan_p_INT.emf"/>
          <p:cNvPicPr>
            <a:picLocks noChangeAspect="1"/>
          </p:cNvPicPr>
          <p:nvPr userDrawn="1"/>
        </p:nvPicPr>
        <p:blipFill>
          <a:blip r:embed="rId11"/>
          <a:srcRect l="41258"/>
          <a:stretch>
            <a:fillRect/>
          </a:stretch>
        </p:blipFill>
        <p:spPr>
          <a:xfrm>
            <a:off x="9053129" y="5482054"/>
            <a:ext cx="1968882" cy="5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17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2734722"/>
              </p:ext>
            </p:extLst>
          </p:nvPr>
        </p:nvGraphicFramePr>
        <p:xfrm>
          <a:off x="1587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1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2" name="Grafik 31" descr="TKOM_39L_Grillen_7475.jpg"/>
          <p:cNvPicPr>
            <a:picLocks noChangeAspect="1"/>
          </p:cNvPicPr>
          <p:nvPr userDrawn="1"/>
        </p:nvPicPr>
        <p:blipFill>
          <a:blip r:embed="rId6"/>
          <a:srcRect b="55841"/>
          <a:stretch>
            <a:fillRect/>
          </a:stretch>
        </p:blipFill>
        <p:spPr>
          <a:xfrm>
            <a:off x="324000" y="323999"/>
            <a:ext cx="10872000" cy="3240000"/>
          </a:xfrm>
          <a:prstGeom prst="rect">
            <a:avLst/>
          </a:prstGeom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7" cstate="print"/>
          <a:srcRect r="11" b="-468"/>
          <a:stretch>
            <a:fillRect/>
          </a:stretch>
        </p:blipFill>
        <p:spPr bwMode="gray">
          <a:xfrm>
            <a:off x="323850" y="2897408"/>
            <a:ext cx="10872000" cy="458788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323850" y="3203795"/>
            <a:ext cx="10872000" cy="1980980"/>
          </a:xfrm>
          <a:solidFill>
            <a:schemeClr val="tx2"/>
          </a:solidFill>
        </p:spPr>
        <p:txBody>
          <a:bodyPr lIns="143990">
            <a:no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23850" y="4536000"/>
            <a:ext cx="10869614" cy="384080"/>
          </a:xfrm>
        </p:spPr>
        <p:txBody>
          <a:bodyPr lIns="143990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/>
              <a:t>Sub-heading: TeleGrotesk Normal, 24 pt</a:t>
            </a:r>
            <a:endParaRPr lang="en-US" dirty="0"/>
          </a:p>
        </p:txBody>
      </p:sp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9"/>
          <a:srcRect r="60924"/>
          <a:stretch>
            <a:fillRect/>
          </a:stretch>
        </p:blipFill>
        <p:spPr>
          <a:xfrm>
            <a:off x="324000" y="5655600"/>
            <a:ext cx="1309728" cy="500400"/>
          </a:xfrm>
          <a:prstGeom prst="rect">
            <a:avLst/>
          </a:prstGeom>
        </p:spPr>
      </p:pic>
      <p:pic>
        <p:nvPicPr>
          <p:cNvPr id="34" name="Grafik 33" descr="T_Logo_3c_Slogan_p_INT.emf"/>
          <p:cNvPicPr>
            <a:picLocks noChangeAspect="1"/>
          </p:cNvPicPr>
          <p:nvPr userDrawn="1"/>
        </p:nvPicPr>
        <p:blipFill>
          <a:blip r:embed="rId9"/>
          <a:srcRect l="43441"/>
          <a:stretch>
            <a:fillRect/>
          </a:stretch>
        </p:blipFill>
        <p:spPr>
          <a:xfrm>
            <a:off x="9302496" y="5655600"/>
            <a:ext cx="1895731" cy="5004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365371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29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ußzeilenplatzhalter 1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4763" y="5545138"/>
            <a:ext cx="11517312" cy="935037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 err="1">
              <a:cs typeface="Arial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3091654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32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-1" y="703"/>
            <a:ext cx="11522075" cy="6478767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7515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4964844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34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-1" y="0"/>
            <a:ext cx="11522075" cy="6480175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8255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959555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68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8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/>
              <a:t>dd.mm.yyyy</a:t>
            </a:r>
            <a:endParaRPr lang="en-US" noProof="0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hidden">
          <a:xfrm>
            <a:off x="1" y="120"/>
            <a:ext cx="11522069" cy="6478764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007549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39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120"/>
            <a:ext cx="11522072" cy="6478767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671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104330683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912" name="think-cell Folie" r:id="rId28" imgW="360" imgH="360" progId="">
                  <p:embed/>
                </p:oleObj>
              </mc:Choice>
              <mc:Fallback>
                <p:oleObj name="think-cell Folie" r:id="rId28" imgW="360" imgH="360" progId="">
                  <p:embed/>
                  <p:pic>
                    <p:nvPicPr>
                      <p:cNvPr id="0" name="Picture 3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23851" y="252000"/>
            <a:ext cx="10872000" cy="5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4000" y="1476000"/>
            <a:ext cx="10872000" cy="406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10114249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/>
              <a:t>dd.mm.yyyy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7047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  <p:pic>
        <p:nvPicPr>
          <p:cNvPr id="31" name="Grafik 30" descr="T_Logo_3c_Slogan_p_INT.emf"/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324000" y="5911200"/>
            <a:ext cx="2411348" cy="360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898" r:id="rId2"/>
    <p:sldLayoutId id="2147483961" r:id="rId3"/>
    <p:sldLayoutId id="2147483711" r:id="rId4"/>
    <p:sldLayoutId id="2147483725" r:id="rId5"/>
    <p:sldLayoutId id="2147483928" r:id="rId6"/>
    <p:sldLayoutId id="2147483926" r:id="rId7"/>
    <p:sldLayoutId id="2147483976" r:id="rId8"/>
    <p:sldLayoutId id="2147483964" r:id="rId9"/>
    <p:sldLayoutId id="2147483965" r:id="rId10"/>
    <p:sldLayoutId id="2147483967" r:id="rId11"/>
    <p:sldLayoutId id="2147483968" r:id="rId12"/>
    <p:sldLayoutId id="2147483972" r:id="rId13"/>
    <p:sldLayoutId id="2147483971" r:id="rId14"/>
    <p:sldLayoutId id="2147483973" r:id="rId15"/>
    <p:sldLayoutId id="2147483716" r:id="rId16"/>
    <p:sldLayoutId id="2147483718" r:id="rId17"/>
    <p:sldLayoutId id="2147483722" r:id="rId18"/>
    <p:sldLayoutId id="2147483723" r:id="rId19"/>
    <p:sldLayoutId id="2147483969" r:id="rId20"/>
    <p:sldLayoutId id="2147483970" r:id="rId21"/>
    <p:sldLayoutId id="2147483930" r:id="rId22"/>
    <p:sldLayoutId id="2147483959" r:id="rId23"/>
    <p:sldLayoutId id="2147483960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marL="0" indent="0" algn="l" defTabSz="45732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2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41" userDrawn="1">
          <p15:clr>
            <a:srgbClr val="F26B43"/>
          </p15:clr>
        </p15:guide>
        <p15:guide id="2" pos="3629" userDrawn="1">
          <p15:clr>
            <a:srgbClr val="F26B43"/>
          </p15:clr>
        </p15:guide>
        <p15:guide id="3" orient="horz" pos="930" userDrawn="1">
          <p15:clr>
            <a:srgbClr val="F26B43"/>
          </p15:clr>
        </p15:guide>
        <p15:guide id="4" orient="horz" pos="3493" userDrawn="1">
          <p15:clr>
            <a:srgbClr val="F26B43"/>
          </p15:clr>
        </p15:guide>
        <p15:guide id="5" orient="horz" pos="3878" userDrawn="1">
          <p15:clr>
            <a:srgbClr val="F26B43"/>
          </p15:clr>
        </p15:guide>
        <p15:guide id="6" pos="204" userDrawn="1">
          <p15:clr>
            <a:srgbClr val="F26B43"/>
          </p15:clr>
        </p15:guide>
        <p15:guide id="7" pos="7054" userDrawn="1">
          <p15:clr>
            <a:srgbClr val="F26B43"/>
          </p15:clr>
        </p15:guide>
        <p15:guide id="8" orient="horz" pos="3719" userDrawn="1">
          <p15:clr>
            <a:srgbClr val="F26B43"/>
          </p15:clr>
        </p15:guide>
        <p15:guide id="9" orient="horz" pos="3266" userDrawn="1">
          <p15:clr>
            <a:srgbClr val="F26B43"/>
          </p15:clr>
        </p15:guide>
        <p15:guide id="10" orient="horz" pos="703" userDrawn="1">
          <p15:clr>
            <a:srgbClr val="F26B43"/>
          </p15:clr>
        </p15:guide>
        <p15:guide id="11" orient="horz" pos="204" userDrawn="1">
          <p15:clr>
            <a:srgbClr val="F26B43"/>
          </p15:clr>
        </p15:guide>
        <p15:guide id="12" pos="1848" userDrawn="1">
          <p15:clr>
            <a:srgbClr val="F26B43"/>
          </p15:clr>
        </p15:guide>
        <p15:guide id="13" pos="1939" userDrawn="1">
          <p15:clr>
            <a:srgbClr val="F26B43"/>
          </p15:clr>
        </p15:guide>
        <p15:guide id="14" pos="3674" userDrawn="1">
          <p15:clr>
            <a:srgbClr val="F26B43"/>
          </p15:clr>
        </p15:guide>
        <p15:guide id="15" pos="3584" userDrawn="1">
          <p15:clr>
            <a:srgbClr val="F26B43"/>
          </p15:clr>
        </p15:guide>
        <p15:guide id="16" pos="5410" userDrawn="1">
          <p15:clr>
            <a:srgbClr val="F26B43"/>
          </p15:clr>
        </p15:guide>
        <p15:guide id="17" pos="53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23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1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1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7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0711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2421" y="1500"/>
          <a:ext cx="15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123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200711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421" y="1500"/>
                        <a:ext cx="15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lvl="0" algn="l" rtl="0"/>
            <a:r>
              <a:rPr lang="en-US" dirty="0" err="1"/>
              <a:t>Functional</a:t>
            </a:r>
            <a:r>
              <a:rPr lang="en-US" dirty="0"/>
              <a:t> </a:t>
            </a:r>
            <a:r>
              <a:rPr lang="en-US" dirty="0" err="1"/>
              <a:t>programming</a:t>
            </a:r>
            <a:r>
              <a:rPr lang="en-US" dirty="0"/>
              <a:t> </a:t>
            </a:r>
            <a:r>
              <a:rPr lang="en-US" dirty="0" err="1"/>
              <a:t>With</a:t>
            </a:r>
            <a:r>
              <a:rPr lang="en-US" dirty="0"/>
              <a:t> </a:t>
            </a:r>
            <a:r>
              <a:rPr lang="en-US" dirty="0" err="1"/>
              <a:t>Vavr</a:t>
            </a:r>
            <a:r>
              <a:rPr lang="en-US" dirty="0"/>
              <a:t> and Resilience4j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79903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(PURE) Functions with no side effect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10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5" y="981075"/>
            <a:ext cx="5734049" cy="498087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r>
              <a:rPr lang="de-DE" dirty="0"/>
              <a:t>Potential input: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parameter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 err="1"/>
              <a:t>Instance variables</a:t>
            </a:r>
            <a:endParaRPr lang="de-DE" dirty="0"/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global variables </a:t>
            </a:r>
          </a:p>
          <a:p>
            <a:pPr marL="792072" lvl="1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  <a:p>
            <a:pPr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r>
              <a:rPr lang="de-DE" dirty="0"/>
              <a:t>Potential output: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Return value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 err="1"/>
              <a:t>Instance variables</a:t>
            </a:r>
            <a:endParaRPr lang="de-DE" dirty="0"/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Global variables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 err="1"/>
              <a:t>Exception</a:t>
            </a:r>
            <a:endParaRPr lang="de-DE" dirty="0"/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Variable parameters</a:t>
            </a:r>
            <a:endParaRPr lang="en-US" sz="2400" dirty="0"/>
          </a:p>
        </p:txBody>
      </p:sp>
      <p:sp>
        <p:nvSpPr>
          <p:cNvPr id="10" name="Freeform 8"/>
          <p:cNvSpPr>
            <a:spLocks/>
          </p:cNvSpPr>
          <p:nvPr/>
        </p:nvSpPr>
        <p:spPr bwMode="gray">
          <a:xfrm>
            <a:off x="6881926" y="984688"/>
            <a:ext cx="4314073" cy="498087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r>
              <a:rPr lang="de-DE" dirty="0"/>
              <a:t>Potential input: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Immutable parameters</a:t>
            </a:r>
          </a:p>
          <a:p>
            <a:pPr marL="792072" lvl="1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  <a:p>
            <a:pPr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r>
              <a:rPr lang="de-DE" dirty="0"/>
              <a:t>Potential output: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Immutable return value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62554" y="1785116"/>
            <a:ext cx="1952625" cy="2333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3979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FUNCTIONAL error handling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>
          <a:xfrm>
            <a:off x="10830875" y="6134515"/>
            <a:ext cx="365125" cy="274637"/>
          </a:xfrm>
        </p:spPr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11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756000"/>
            <a:ext cx="8834438" cy="1838050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A value can be wrapped in a context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If one applies a function to the packed value, it can depending on the context have a different result</a:t>
            </a:r>
          </a:p>
        </p:txBody>
      </p:sp>
      <p:sp>
        <p:nvSpPr>
          <p:cNvPr id="14" name="Rechteck 13"/>
          <p:cNvSpPr/>
          <p:nvPr/>
        </p:nvSpPr>
        <p:spPr>
          <a:xfrm>
            <a:off x="1143179" y="3257195"/>
            <a:ext cx="1043786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 rtl="0"/>
            <a:r>
              <a:rPr lang="de-DE" sz="36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8, 2</a:t>
            </a:r>
          </a:p>
        </p:txBody>
      </p:sp>
      <p:grpSp>
        <p:nvGrpSpPr>
          <p:cNvPr id="8" name="Gruppieren 7"/>
          <p:cNvGrpSpPr/>
          <p:nvPr/>
        </p:nvGrpSpPr>
        <p:grpSpPr>
          <a:xfrm>
            <a:off x="3924641" y="3224488"/>
            <a:ext cx="903570" cy="827690"/>
            <a:chOff x="3021960" y="3206059"/>
            <a:chExt cx="903570" cy="827690"/>
          </a:xfrm>
        </p:grpSpPr>
        <p:sp>
          <p:nvSpPr>
            <p:cNvPr id="5" name="Cube 4"/>
            <p:cNvSpPr/>
            <p:nvPr/>
          </p:nvSpPr>
          <p:spPr bwMode="gray">
            <a:xfrm>
              <a:off x="3021960" y="3206059"/>
              <a:ext cx="903570" cy="827690"/>
            </a:xfrm>
            <a:prstGeom prst="cube">
              <a:avLst/>
            </a:prstGeom>
            <a:solidFill>
              <a:schemeClr val="bg1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rtl="0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sz="1800" dirty="0" err="1">
                <a:cs typeface="Arial" charset="0"/>
              </a:endParaRPr>
            </a:p>
          </p:txBody>
        </p:sp>
        <p:sp>
          <p:nvSpPr>
            <p:cNvPr id="15" name="Rechteck 14"/>
            <p:cNvSpPr/>
            <p:nvPr/>
          </p:nvSpPr>
          <p:spPr>
            <a:xfrm>
              <a:off x="3127005" y="3377042"/>
              <a:ext cx="443368" cy="64633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 rtl="0"/>
              <a:r>
                <a:rPr lang="de-DE" sz="3600" b="0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4th</a:t>
              </a:r>
            </a:p>
          </p:txBody>
        </p:sp>
      </p:grpSp>
      <p:grpSp>
        <p:nvGrpSpPr>
          <p:cNvPr id="7" name="Gruppieren 6"/>
          <p:cNvGrpSpPr/>
          <p:nvPr/>
        </p:nvGrpSpPr>
        <p:grpSpPr>
          <a:xfrm>
            <a:off x="6748390" y="3216456"/>
            <a:ext cx="903570" cy="827690"/>
            <a:chOff x="5615608" y="4162340"/>
            <a:chExt cx="903570" cy="827690"/>
          </a:xfrm>
        </p:grpSpPr>
        <p:sp>
          <p:nvSpPr>
            <p:cNvPr id="27" name="Cube 26"/>
            <p:cNvSpPr/>
            <p:nvPr/>
          </p:nvSpPr>
          <p:spPr bwMode="gray">
            <a:xfrm>
              <a:off x="5615608" y="4162340"/>
              <a:ext cx="903570" cy="827690"/>
            </a:xfrm>
            <a:prstGeom prst="cube">
              <a:avLst/>
            </a:prstGeom>
            <a:solidFill>
              <a:schemeClr val="bg1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rtl="0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sz="1800" dirty="0" err="1">
                <a:cs typeface="Arial" charset="0"/>
              </a:endParaRPr>
            </a:p>
          </p:txBody>
        </p:sp>
        <p:sp>
          <p:nvSpPr>
            <p:cNvPr id="16" name="Rechteck 15"/>
            <p:cNvSpPr/>
            <p:nvPr/>
          </p:nvSpPr>
          <p:spPr>
            <a:xfrm>
              <a:off x="5760000" y="4343699"/>
              <a:ext cx="443368" cy="64633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 rtl="0"/>
              <a:r>
                <a:rPr lang="de-DE" sz="3600" b="0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7th</a:t>
              </a:r>
            </a:p>
          </p:txBody>
        </p:sp>
      </p:grpSp>
      <p:sp>
        <p:nvSpPr>
          <p:cNvPr id="17" name="Pfeil: nach rechts 16"/>
          <p:cNvSpPr/>
          <p:nvPr/>
        </p:nvSpPr>
        <p:spPr bwMode="gray">
          <a:xfrm>
            <a:off x="5056311" y="3421411"/>
            <a:ext cx="1544207" cy="465867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err="1">
                <a:cs typeface="Arial" charset="0"/>
              </a:rPr>
              <a:t>map</a:t>
            </a:r>
            <a:endParaRPr lang="de-DE" sz="1800" dirty="0">
              <a:cs typeface="Arial" charset="0"/>
            </a:endParaRPr>
          </a:p>
        </p:txBody>
      </p:sp>
      <p:sp>
        <p:nvSpPr>
          <p:cNvPr id="18" name="Pfeil: Fünfeck 17"/>
          <p:cNvSpPr/>
          <p:nvPr/>
        </p:nvSpPr>
        <p:spPr bwMode="gray">
          <a:xfrm>
            <a:off x="2474612" y="3429294"/>
            <a:ext cx="1245476" cy="418519"/>
          </a:xfrm>
          <a:prstGeom prst="homePlat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err="1">
                <a:cs typeface="Arial" charset="0"/>
              </a:rPr>
              <a:t>divide</a:t>
            </a:r>
            <a:endParaRPr lang="de-DE" sz="1800" dirty="0">
              <a:cs typeface="Arial" charset="0"/>
            </a:endParaRPr>
          </a:p>
        </p:txBody>
      </p:sp>
      <p:sp>
        <p:nvSpPr>
          <p:cNvPr id="19" name="Pfeil: Fünfeck 18"/>
          <p:cNvSpPr/>
          <p:nvPr/>
        </p:nvSpPr>
        <p:spPr bwMode="gray">
          <a:xfrm>
            <a:off x="5152436" y="2648793"/>
            <a:ext cx="1245476" cy="418519"/>
          </a:xfrm>
          <a:prstGeom prst="homePlat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>
                <a:cs typeface="Arial" charset="0"/>
              </a:rPr>
              <a:t>+3</a:t>
            </a:r>
          </a:p>
        </p:txBody>
      </p:sp>
      <p:sp>
        <p:nvSpPr>
          <p:cNvPr id="20" name="Pfeil: nach rechts 19"/>
          <p:cNvSpPr/>
          <p:nvPr/>
        </p:nvSpPr>
        <p:spPr bwMode="gray">
          <a:xfrm>
            <a:off x="2186965" y="3559872"/>
            <a:ext cx="143104" cy="140859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3036303" y="2336651"/>
            <a:ext cx="1650537" cy="648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defTabSz="457322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1800" dirty="0">
                <a:ea typeface="Swagger" pitchFamily="2" charset="0"/>
              </a:rPr>
              <a:t>value </a:t>
            </a:r>
            <a:r>
              <a:rPr lang="de-DE" sz="1800" u="sng" dirty="0">
                <a:ea typeface="Swagger" pitchFamily="2" charset="0"/>
              </a:rPr>
              <a:t>and</a:t>
            </a:r>
            <a:r>
              <a:rPr lang="de-DE" sz="1800" dirty="0">
                <a:ea typeface="Swagger" pitchFamily="2" charset="0"/>
              </a:rPr>
              <a:t> Context (</a:t>
            </a:r>
            <a:r>
              <a:rPr lang="de-DE" sz="1800" dirty="0" err="1">
                <a:ea typeface="Swagger" pitchFamily="2" charset="0"/>
              </a:rPr>
              <a:t>Monad</a:t>
            </a:r>
            <a:r>
              <a:rPr lang="de-DE" sz="1800" dirty="0">
                <a:ea typeface="Swagger" pitchFamily="2" charset="0"/>
              </a:rPr>
              <a:t>)</a:t>
            </a:r>
          </a:p>
        </p:txBody>
      </p:sp>
      <p:cxnSp>
        <p:nvCxnSpPr>
          <p:cNvPr id="26" name="Gerade Verbindung mit Pfeil 25"/>
          <p:cNvCxnSpPr/>
          <p:nvPr/>
        </p:nvCxnSpPr>
        <p:spPr>
          <a:xfrm>
            <a:off x="3861572" y="2992076"/>
            <a:ext cx="138137" cy="183366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Pfeil: nach rechts 27"/>
          <p:cNvSpPr/>
          <p:nvPr/>
        </p:nvSpPr>
        <p:spPr bwMode="gray">
          <a:xfrm rot="5400000">
            <a:off x="5694755" y="3258318"/>
            <a:ext cx="143104" cy="140859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29" name="Textfeld 28"/>
          <p:cNvSpPr txBox="1"/>
          <p:nvPr/>
        </p:nvSpPr>
        <p:spPr>
          <a:xfrm>
            <a:off x="912867" y="2654044"/>
            <a:ext cx="1113492" cy="338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defTabSz="457322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1800" dirty="0">
                <a:ea typeface="Swagger" pitchFamily="2" charset="0"/>
              </a:rPr>
              <a:t>Input values</a:t>
            </a:r>
          </a:p>
        </p:txBody>
      </p:sp>
      <p:cxnSp>
        <p:nvCxnSpPr>
          <p:cNvPr id="30" name="Gerade Verbindung mit Pfeil 29"/>
          <p:cNvCxnSpPr/>
          <p:nvPr/>
        </p:nvCxnSpPr>
        <p:spPr>
          <a:xfrm>
            <a:off x="1445731" y="3045128"/>
            <a:ext cx="138137" cy="183366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Geschweifte Klammer rechts 8"/>
          <p:cNvSpPr/>
          <p:nvPr/>
        </p:nvSpPr>
        <p:spPr>
          <a:xfrm rot="16200000">
            <a:off x="4251079" y="4006475"/>
            <a:ext cx="204553" cy="1336224"/>
          </a:xfrm>
          <a:prstGeom prst="rightBrac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de-DE"/>
          </a:p>
        </p:txBody>
      </p:sp>
      <p:sp>
        <p:nvSpPr>
          <p:cNvPr id="10" name="Textfeld 9"/>
          <p:cNvSpPr txBox="1"/>
          <p:nvPr/>
        </p:nvSpPr>
        <p:spPr>
          <a:xfrm>
            <a:off x="3899610" y="4149907"/>
            <a:ext cx="1036932" cy="338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defTabSz="457322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1800" dirty="0">
                <a:ea typeface="Swagger" pitchFamily="2" charset="0"/>
              </a:rPr>
              <a:t>Try (</a:t>
            </a:r>
            <a:r>
              <a:rPr lang="de-DE" sz="1800" dirty="0" err="1">
                <a:ea typeface="Swagger" pitchFamily="2" charset="0"/>
              </a:rPr>
              <a:t>Either</a:t>
            </a:r>
            <a:r>
              <a:rPr lang="de-DE" sz="1800" dirty="0">
                <a:ea typeface="Swagger" pitchFamily="2" charset="0"/>
              </a:rPr>
              <a:t>)</a:t>
            </a:r>
          </a:p>
        </p:txBody>
      </p:sp>
      <p:grpSp>
        <p:nvGrpSpPr>
          <p:cNvPr id="31" name="Gruppieren 30"/>
          <p:cNvGrpSpPr/>
          <p:nvPr/>
        </p:nvGrpSpPr>
        <p:grpSpPr>
          <a:xfrm>
            <a:off x="4575039" y="4945549"/>
            <a:ext cx="903570" cy="827690"/>
            <a:chOff x="3021960" y="3206059"/>
            <a:chExt cx="903570" cy="827690"/>
          </a:xfrm>
        </p:grpSpPr>
        <p:sp>
          <p:nvSpPr>
            <p:cNvPr id="32" name="Cube 31"/>
            <p:cNvSpPr/>
            <p:nvPr/>
          </p:nvSpPr>
          <p:spPr bwMode="gray">
            <a:xfrm>
              <a:off x="3021960" y="3206059"/>
              <a:ext cx="903570" cy="827690"/>
            </a:xfrm>
            <a:prstGeom prst="cube">
              <a:avLst/>
            </a:prstGeom>
            <a:solidFill>
              <a:schemeClr val="bg1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rtl="0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sz="1800" dirty="0" err="1">
                <a:cs typeface="Arial" charset="0"/>
              </a:endParaRPr>
            </a:p>
          </p:txBody>
        </p:sp>
        <p:sp>
          <p:nvSpPr>
            <p:cNvPr id="33" name="Rechteck 32"/>
            <p:cNvSpPr/>
            <p:nvPr/>
          </p:nvSpPr>
          <p:spPr>
            <a:xfrm>
              <a:off x="3127005" y="3377042"/>
              <a:ext cx="443368" cy="64633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 rtl="0"/>
              <a:r>
                <a:rPr lang="de-DE" sz="3600" b="0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4th</a:t>
              </a:r>
            </a:p>
          </p:txBody>
        </p:sp>
      </p:grpSp>
      <p:grpSp>
        <p:nvGrpSpPr>
          <p:cNvPr id="39" name="Gruppieren 38"/>
          <p:cNvGrpSpPr/>
          <p:nvPr/>
        </p:nvGrpSpPr>
        <p:grpSpPr>
          <a:xfrm>
            <a:off x="3151240" y="4933816"/>
            <a:ext cx="903570" cy="827690"/>
            <a:chOff x="4195026" y="4808065"/>
            <a:chExt cx="903570" cy="827690"/>
          </a:xfrm>
        </p:grpSpPr>
        <p:grpSp>
          <p:nvGrpSpPr>
            <p:cNvPr id="34" name="Gruppieren 33"/>
            <p:cNvGrpSpPr/>
            <p:nvPr/>
          </p:nvGrpSpPr>
          <p:grpSpPr>
            <a:xfrm>
              <a:off x="4195026" y="4808065"/>
              <a:ext cx="903570" cy="827690"/>
              <a:chOff x="3021960" y="3206059"/>
              <a:chExt cx="903570" cy="827690"/>
            </a:xfrm>
          </p:grpSpPr>
          <p:sp>
            <p:nvSpPr>
              <p:cNvPr id="35" name="Cube 34"/>
              <p:cNvSpPr/>
              <p:nvPr/>
            </p:nvSpPr>
            <p:spPr bwMode="gray">
              <a:xfrm>
                <a:off x="3021960" y="3206059"/>
                <a:ext cx="903570" cy="827690"/>
              </a:xfrm>
              <a:prstGeom prst="cube">
                <a:avLst/>
              </a:prstGeom>
              <a:solidFill>
                <a:schemeClr val="bg1"/>
              </a:solidFill>
              <a:ln w="19050" algn="ctr">
                <a:solidFill>
                  <a:schemeClr val="tx2"/>
                </a:solidFill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rtl="0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>
                  <a:cs typeface="Arial" charset="0"/>
                </a:endParaRPr>
              </a:p>
            </p:txBody>
          </p:sp>
          <p:sp>
            <p:nvSpPr>
              <p:cNvPr id="37" name="Rechteck 36"/>
              <p:cNvSpPr/>
              <p:nvPr/>
            </p:nvSpPr>
            <p:spPr>
              <a:xfrm>
                <a:off x="3127005" y="3377042"/>
                <a:ext cx="443368" cy="64633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spAutoFit/>
              </a:bodyPr>
              <a:lstStyle/>
              <a:p>
                <a:pPr algn="ctr" rtl="0"/>
                <a:endParaRPr lang="de-DE" sz="3600" b="0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</p:grpSp>
        <p:sp>
          <p:nvSpPr>
            <p:cNvPr id="11" name="Gewitterblitz 10"/>
            <p:cNvSpPr/>
            <p:nvPr/>
          </p:nvSpPr>
          <p:spPr bwMode="gray">
            <a:xfrm>
              <a:off x="4390206" y="5127104"/>
              <a:ext cx="338823" cy="370490"/>
            </a:xfrm>
            <a:prstGeom prst="lightningBolt">
              <a:avLst/>
            </a:prstGeom>
            <a:solidFill>
              <a:srgbClr val="FFFF00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rtl="0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sz="1800" dirty="0" err="1">
                <a:cs typeface="Arial" charset="0"/>
              </a:endParaRPr>
            </a:p>
          </p:txBody>
        </p:sp>
      </p:grpSp>
      <p:sp>
        <p:nvSpPr>
          <p:cNvPr id="12" name="Textfeld 11"/>
          <p:cNvSpPr txBox="1"/>
          <p:nvPr/>
        </p:nvSpPr>
        <p:spPr>
          <a:xfrm>
            <a:off x="2972555" y="5809768"/>
            <a:ext cx="1184665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defTabSz="457322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1800" dirty="0" err="1">
                <a:ea typeface="Swagger" pitchFamily="2" charset="0"/>
              </a:rPr>
              <a:t>Failure</a:t>
            </a:r>
            <a:r>
              <a:rPr lang="de-DE" sz="1800" dirty="0">
                <a:ea typeface="Swagger" pitchFamily="2" charset="0"/>
              </a:rPr>
              <a:t> (</a:t>
            </a:r>
            <a:r>
              <a:rPr lang="de-DE" sz="1800" dirty="0" err="1">
                <a:ea typeface="Swagger" pitchFamily="2" charset="0"/>
              </a:rPr>
              <a:t>Left</a:t>
            </a:r>
            <a:r>
              <a:rPr lang="de-DE" sz="1800" dirty="0">
                <a:ea typeface="Swagger" pitchFamily="2" charset="0"/>
              </a:rPr>
              <a:t>)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4418076" y="5818590"/>
            <a:ext cx="1352468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defTabSz="457322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1800" dirty="0" err="1">
                <a:ea typeface="Swagger" pitchFamily="2" charset="0"/>
              </a:rPr>
              <a:t>Sucess</a:t>
            </a:r>
            <a:r>
              <a:rPr lang="de-DE" sz="1800" dirty="0">
                <a:ea typeface="Swagger" pitchFamily="2" charset="0"/>
              </a:rPr>
              <a:t> (</a:t>
            </a:r>
            <a:r>
              <a:rPr lang="de-DE" sz="1800" dirty="0" err="1">
                <a:ea typeface="Swagger" pitchFamily="2" charset="0"/>
              </a:rPr>
              <a:t>Right</a:t>
            </a:r>
            <a:r>
              <a:rPr lang="de-DE" sz="1800" dirty="0">
                <a:ea typeface="Swagger" pitchFamily="2" charset="0"/>
              </a:rPr>
              <a:t>)</a:t>
            </a:r>
          </a:p>
        </p:txBody>
      </p:sp>
      <p:grpSp>
        <p:nvGrpSpPr>
          <p:cNvPr id="43" name="Gruppieren 42"/>
          <p:cNvGrpSpPr/>
          <p:nvPr/>
        </p:nvGrpSpPr>
        <p:grpSpPr>
          <a:xfrm>
            <a:off x="9492113" y="3175442"/>
            <a:ext cx="903570" cy="827690"/>
            <a:chOff x="5615608" y="4162340"/>
            <a:chExt cx="903570" cy="827690"/>
          </a:xfrm>
        </p:grpSpPr>
        <p:sp>
          <p:nvSpPr>
            <p:cNvPr id="45" name="Cube 44"/>
            <p:cNvSpPr/>
            <p:nvPr/>
          </p:nvSpPr>
          <p:spPr bwMode="gray">
            <a:xfrm>
              <a:off x="5615608" y="4162340"/>
              <a:ext cx="903570" cy="827690"/>
            </a:xfrm>
            <a:prstGeom prst="cube">
              <a:avLst/>
            </a:prstGeom>
            <a:solidFill>
              <a:schemeClr val="bg1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rtl="0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sz="1800" dirty="0" err="1">
                <a:cs typeface="Arial" charset="0"/>
              </a:endParaRPr>
            </a:p>
          </p:txBody>
        </p:sp>
        <p:sp>
          <p:nvSpPr>
            <p:cNvPr id="46" name="Rechteck 45"/>
            <p:cNvSpPr/>
            <p:nvPr/>
          </p:nvSpPr>
          <p:spPr>
            <a:xfrm>
              <a:off x="5760000" y="4343699"/>
              <a:ext cx="443368" cy="64633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 rtl="0"/>
              <a:r>
                <a:rPr lang="de-DE" sz="3600" b="0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5</a:t>
              </a:r>
            </a:p>
          </p:txBody>
        </p:sp>
      </p:grpSp>
      <p:sp>
        <p:nvSpPr>
          <p:cNvPr id="47" name="Pfeil: nach rechts 46"/>
          <p:cNvSpPr/>
          <p:nvPr/>
        </p:nvSpPr>
        <p:spPr bwMode="gray">
          <a:xfrm>
            <a:off x="7800034" y="3388280"/>
            <a:ext cx="1544207" cy="465867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err="1">
                <a:cs typeface="Arial" charset="0"/>
              </a:rPr>
              <a:t>flatMap</a:t>
            </a:r>
            <a:endParaRPr lang="de-DE" sz="1800" dirty="0">
              <a:cs typeface="Arial" charset="0"/>
            </a:endParaRPr>
          </a:p>
        </p:txBody>
      </p:sp>
      <p:sp>
        <p:nvSpPr>
          <p:cNvPr id="49" name="Pfeil: nach rechts 48"/>
          <p:cNvSpPr/>
          <p:nvPr/>
        </p:nvSpPr>
        <p:spPr bwMode="gray">
          <a:xfrm rot="5400000">
            <a:off x="8368047" y="3212275"/>
            <a:ext cx="143104" cy="140859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grpSp>
        <p:nvGrpSpPr>
          <p:cNvPr id="50" name="Gruppieren 49"/>
          <p:cNvGrpSpPr/>
          <p:nvPr/>
        </p:nvGrpSpPr>
        <p:grpSpPr>
          <a:xfrm>
            <a:off x="8994181" y="2512184"/>
            <a:ext cx="660182" cy="672019"/>
            <a:chOff x="5615608" y="4162340"/>
            <a:chExt cx="903570" cy="950923"/>
          </a:xfrm>
        </p:grpSpPr>
        <p:sp>
          <p:nvSpPr>
            <p:cNvPr id="51" name="Cube 50"/>
            <p:cNvSpPr/>
            <p:nvPr/>
          </p:nvSpPr>
          <p:spPr bwMode="gray">
            <a:xfrm>
              <a:off x="5615608" y="4162340"/>
              <a:ext cx="903570" cy="827690"/>
            </a:xfrm>
            <a:prstGeom prst="cube">
              <a:avLst/>
            </a:prstGeom>
            <a:solidFill>
              <a:schemeClr val="bg1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rtl="0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sz="1800" dirty="0" err="1">
                <a:cs typeface="Arial" charset="0"/>
              </a:endParaRPr>
            </a:p>
          </p:txBody>
        </p:sp>
        <p:sp>
          <p:nvSpPr>
            <p:cNvPr id="52" name="Rechteck 51"/>
            <p:cNvSpPr/>
            <p:nvPr/>
          </p:nvSpPr>
          <p:spPr>
            <a:xfrm>
              <a:off x="5760000" y="4198689"/>
              <a:ext cx="443368" cy="914574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 rtl="0"/>
              <a:r>
                <a:rPr lang="de-DE" sz="3600" b="0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5</a:t>
              </a:r>
            </a:p>
          </p:txBody>
        </p:sp>
      </p:grpSp>
      <p:sp>
        <p:nvSpPr>
          <p:cNvPr id="53" name="Pfeil: Fünfeck 52"/>
          <p:cNvSpPr/>
          <p:nvPr/>
        </p:nvSpPr>
        <p:spPr bwMode="gray">
          <a:xfrm>
            <a:off x="7694233" y="2637942"/>
            <a:ext cx="1245476" cy="418519"/>
          </a:xfrm>
          <a:prstGeom prst="homePlat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>
                <a:cs typeface="Arial" charset="0"/>
              </a:rPr>
              <a:t>-2</a:t>
            </a:r>
          </a:p>
        </p:txBody>
      </p:sp>
      <p:sp>
        <p:nvSpPr>
          <p:cNvPr id="40" name="Rechteck 39"/>
          <p:cNvSpPr/>
          <p:nvPr/>
        </p:nvSpPr>
        <p:spPr>
          <a:xfrm>
            <a:off x="6397981" y="2517377"/>
            <a:ext cx="41054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0"/>
            <a:r>
              <a:rPr lang="de-DE" sz="36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7th</a:t>
            </a:r>
          </a:p>
        </p:txBody>
      </p:sp>
    </p:spTree>
    <p:extLst>
      <p:ext uri="{BB962C8B-B14F-4D97-AF65-F5344CB8AC3E}">
        <p14:creationId xmlns:p14="http://schemas.microsoft.com/office/powerpoint/2010/main" val="2057933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FUNCTIONAL error handling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>
          <a:xfrm>
            <a:off x="10830875" y="6134515"/>
            <a:ext cx="365125" cy="274637"/>
          </a:xfrm>
        </p:spPr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12</a:t>
            </a:fld>
            <a:endParaRPr lang="en-US" dirty="0"/>
          </a:p>
        </p:txBody>
      </p:sp>
      <p:sp>
        <p:nvSpPr>
          <p:cNvPr id="14" name="Rechteck 13"/>
          <p:cNvSpPr/>
          <p:nvPr/>
        </p:nvSpPr>
        <p:spPr>
          <a:xfrm>
            <a:off x="302661" y="1084908"/>
            <a:ext cx="1043786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 rtl="0"/>
            <a:r>
              <a:rPr lang="de-DE" sz="36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8, 2</a:t>
            </a:r>
          </a:p>
        </p:txBody>
      </p:sp>
      <p:grpSp>
        <p:nvGrpSpPr>
          <p:cNvPr id="8" name="Gruppieren 7"/>
          <p:cNvGrpSpPr/>
          <p:nvPr/>
        </p:nvGrpSpPr>
        <p:grpSpPr>
          <a:xfrm>
            <a:off x="3084123" y="1052201"/>
            <a:ext cx="903570" cy="827690"/>
            <a:chOff x="3021960" y="3206059"/>
            <a:chExt cx="903570" cy="827690"/>
          </a:xfrm>
        </p:grpSpPr>
        <p:sp>
          <p:nvSpPr>
            <p:cNvPr id="5" name="Cube 4"/>
            <p:cNvSpPr/>
            <p:nvPr/>
          </p:nvSpPr>
          <p:spPr bwMode="gray">
            <a:xfrm>
              <a:off x="3021960" y="3206059"/>
              <a:ext cx="903570" cy="827690"/>
            </a:xfrm>
            <a:prstGeom prst="cube">
              <a:avLst/>
            </a:prstGeom>
            <a:solidFill>
              <a:schemeClr val="bg1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rtl="0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sz="1800" dirty="0" err="1">
                <a:cs typeface="Arial" charset="0"/>
              </a:endParaRPr>
            </a:p>
          </p:txBody>
        </p:sp>
        <p:sp>
          <p:nvSpPr>
            <p:cNvPr id="15" name="Rechteck 14"/>
            <p:cNvSpPr/>
            <p:nvPr/>
          </p:nvSpPr>
          <p:spPr>
            <a:xfrm>
              <a:off x="3127005" y="3377042"/>
              <a:ext cx="443368" cy="64633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 rtl="0"/>
              <a:r>
                <a:rPr lang="de-DE" sz="3600" b="0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4th</a:t>
              </a:r>
            </a:p>
          </p:txBody>
        </p:sp>
      </p:grpSp>
      <p:grpSp>
        <p:nvGrpSpPr>
          <p:cNvPr id="7" name="Gruppieren 6"/>
          <p:cNvGrpSpPr/>
          <p:nvPr/>
        </p:nvGrpSpPr>
        <p:grpSpPr>
          <a:xfrm>
            <a:off x="5907872" y="1044169"/>
            <a:ext cx="903570" cy="827690"/>
            <a:chOff x="5615608" y="4162340"/>
            <a:chExt cx="903570" cy="827690"/>
          </a:xfrm>
        </p:grpSpPr>
        <p:sp>
          <p:nvSpPr>
            <p:cNvPr id="27" name="Cube 26"/>
            <p:cNvSpPr/>
            <p:nvPr/>
          </p:nvSpPr>
          <p:spPr bwMode="gray">
            <a:xfrm>
              <a:off x="5615608" y="4162340"/>
              <a:ext cx="903570" cy="827690"/>
            </a:xfrm>
            <a:prstGeom prst="cube">
              <a:avLst/>
            </a:prstGeom>
            <a:solidFill>
              <a:schemeClr val="bg1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rtl="0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sz="1800" dirty="0" err="1">
                <a:cs typeface="Arial" charset="0"/>
              </a:endParaRPr>
            </a:p>
          </p:txBody>
        </p:sp>
        <p:sp>
          <p:nvSpPr>
            <p:cNvPr id="16" name="Rechteck 15"/>
            <p:cNvSpPr/>
            <p:nvPr/>
          </p:nvSpPr>
          <p:spPr>
            <a:xfrm>
              <a:off x="5760000" y="4343699"/>
              <a:ext cx="443368" cy="64633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 rtl="0"/>
              <a:r>
                <a:rPr lang="de-DE" sz="3600" b="0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7th</a:t>
              </a:r>
            </a:p>
          </p:txBody>
        </p:sp>
      </p:grpSp>
      <p:sp>
        <p:nvSpPr>
          <p:cNvPr id="17" name="Pfeil: nach rechts 16"/>
          <p:cNvSpPr/>
          <p:nvPr/>
        </p:nvSpPr>
        <p:spPr bwMode="gray">
          <a:xfrm>
            <a:off x="4215793" y="1257007"/>
            <a:ext cx="1544207" cy="465867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err="1">
                <a:cs typeface="Arial" charset="0"/>
              </a:rPr>
              <a:t>map</a:t>
            </a:r>
            <a:endParaRPr lang="de-DE" sz="1800" dirty="0">
              <a:cs typeface="Arial" charset="0"/>
            </a:endParaRPr>
          </a:p>
        </p:txBody>
      </p:sp>
      <p:sp>
        <p:nvSpPr>
          <p:cNvPr id="18" name="Pfeil: Fünfeck 17"/>
          <p:cNvSpPr/>
          <p:nvPr/>
        </p:nvSpPr>
        <p:spPr bwMode="gray">
          <a:xfrm>
            <a:off x="1634094" y="1257007"/>
            <a:ext cx="1245476" cy="418519"/>
          </a:xfrm>
          <a:prstGeom prst="homePlat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err="1">
                <a:cs typeface="Arial" charset="0"/>
              </a:rPr>
              <a:t>divide</a:t>
            </a:r>
            <a:endParaRPr lang="de-DE" sz="1800" dirty="0">
              <a:cs typeface="Arial" charset="0"/>
            </a:endParaRPr>
          </a:p>
        </p:txBody>
      </p:sp>
      <p:sp>
        <p:nvSpPr>
          <p:cNvPr id="19" name="Pfeil: Fünfeck 18"/>
          <p:cNvSpPr/>
          <p:nvPr/>
        </p:nvSpPr>
        <p:spPr bwMode="gray">
          <a:xfrm>
            <a:off x="4373481" y="2030240"/>
            <a:ext cx="1245476" cy="418519"/>
          </a:xfrm>
          <a:prstGeom prst="homePlat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>
                <a:cs typeface="Arial" charset="0"/>
              </a:rPr>
              <a:t>+3</a:t>
            </a:r>
          </a:p>
        </p:txBody>
      </p:sp>
      <p:sp>
        <p:nvSpPr>
          <p:cNvPr id="20" name="Pfeil: nach rechts 19"/>
          <p:cNvSpPr/>
          <p:nvPr/>
        </p:nvSpPr>
        <p:spPr bwMode="gray">
          <a:xfrm>
            <a:off x="1346447" y="1387585"/>
            <a:ext cx="143104" cy="140859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28" name="Pfeil: nach rechts 27"/>
          <p:cNvSpPr/>
          <p:nvPr/>
        </p:nvSpPr>
        <p:spPr bwMode="gray">
          <a:xfrm rot="5400000">
            <a:off x="4854237" y="2591663"/>
            <a:ext cx="143104" cy="140859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36" name="Pfeil: nach rechts 35"/>
          <p:cNvSpPr/>
          <p:nvPr/>
        </p:nvSpPr>
        <p:spPr bwMode="gray">
          <a:xfrm>
            <a:off x="4249713" y="2757243"/>
            <a:ext cx="1544207" cy="465867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err="1">
                <a:cs typeface="Arial" charset="0"/>
              </a:rPr>
              <a:t>map</a:t>
            </a:r>
            <a:endParaRPr lang="de-DE" sz="1800" dirty="0">
              <a:cs typeface="Arial" charset="0"/>
            </a:endParaRPr>
          </a:p>
        </p:txBody>
      </p:sp>
      <p:grpSp>
        <p:nvGrpSpPr>
          <p:cNvPr id="41" name="Gruppieren 40"/>
          <p:cNvGrpSpPr/>
          <p:nvPr/>
        </p:nvGrpSpPr>
        <p:grpSpPr>
          <a:xfrm>
            <a:off x="3030893" y="2576331"/>
            <a:ext cx="903570" cy="827690"/>
            <a:chOff x="4195026" y="4808065"/>
            <a:chExt cx="903570" cy="827690"/>
          </a:xfrm>
        </p:grpSpPr>
        <p:grpSp>
          <p:nvGrpSpPr>
            <p:cNvPr id="42" name="Gruppieren 41"/>
            <p:cNvGrpSpPr/>
            <p:nvPr/>
          </p:nvGrpSpPr>
          <p:grpSpPr>
            <a:xfrm>
              <a:off x="4195026" y="4808065"/>
              <a:ext cx="903570" cy="827690"/>
              <a:chOff x="3021960" y="3206059"/>
              <a:chExt cx="903570" cy="827690"/>
            </a:xfrm>
          </p:grpSpPr>
          <p:sp>
            <p:nvSpPr>
              <p:cNvPr id="44" name="Cube 43"/>
              <p:cNvSpPr/>
              <p:nvPr/>
            </p:nvSpPr>
            <p:spPr bwMode="gray">
              <a:xfrm>
                <a:off x="3021960" y="3206059"/>
                <a:ext cx="903570" cy="827690"/>
              </a:xfrm>
              <a:prstGeom prst="cube">
                <a:avLst/>
              </a:prstGeom>
              <a:solidFill>
                <a:schemeClr val="bg1"/>
              </a:solidFill>
              <a:ln w="19050" algn="ctr">
                <a:solidFill>
                  <a:schemeClr val="tx2"/>
                </a:solidFill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rtl="0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>
                  <a:cs typeface="Arial" charset="0"/>
                </a:endParaRPr>
              </a:p>
            </p:txBody>
          </p:sp>
          <p:sp>
            <p:nvSpPr>
              <p:cNvPr id="45" name="Rechteck 44"/>
              <p:cNvSpPr/>
              <p:nvPr/>
            </p:nvSpPr>
            <p:spPr>
              <a:xfrm>
                <a:off x="3127005" y="3377042"/>
                <a:ext cx="443368" cy="64633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spAutoFit/>
              </a:bodyPr>
              <a:lstStyle/>
              <a:p>
                <a:pPr algn="ctr" rtl="0"/>
                <a:endParaRPr lang="de-DE" sz="3600" b="0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</p:grpSp>
        <p:sp>
          <p:nvSpPr>
            <p:cNvPr id="43" name="Gewitterblitz 42"/>
            <p:cNvSpPr/>
            <p:nvPr/>
          </p:nvSpPr>
          <p:spPr bwMode="gray">
            <a:xfrm>
              <a:off x="4390206" y="5127104"/>
              <a:ext cx="338823" cy="370490"/>
            </a:xfrm>
            <a:prstGeom prst="lightningBolt">
              <a:avLst/>
            </a:prstGeom>
            <a:solidFill>
              <a:srgbClr val="FFFF00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rtl="0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sz="1800" dirty="0" err="1">
                <a:cs typeface="Arial" charset="0"/>
              </a:endParaRPr>
            </a:p>
          </p:txBody>
        </p:sp>
      </p:grpSp>
      <p:sp>
        <p:nvSpPr>
          <p:cNvPr id="46" name="Rechteck 45"/>
          <p:cNvSpPr/>
          <p:nvPr/>
        </p:nvSpPr>
        <p:spPr>
          <a:xfrm>
            <a:off x="328420" y="2681369"/>
            <a:ext cx="1043786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 rtl="0"/>
            <a:r>
              <a:rPr lang="de-DE" sz="36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8, 0</a:t>
            </a:r>
          </a:p>
        </p:txBody>
      </p:sp>
      <p:sp>
        <p:nvSpPr>
          <p:cNvPr id="47" name="Pfeil: Fünfeck 46"/>
          <p:cNvSpPr/>
          <p:nvPr/>
        </p:nvSpPr>
        <p:spPr bwMode="gray">
          <a:xfrm>
            <a:off x="1659853" y="2853468"/>
            <a:ext cx="1245476" cy="418519"/>
          </a:xfrm>
          <a:prstGeom prst="homePlat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err="1">
                <a:cs typeface="Arial" charset="0"/>
              </a:rPr>
              <a:t>divide</a:t>
            </a:r>
            <a:endParaRPr lang="de-DE" sz="1800" dirty="0">
              <a:cs typeface="Arial" charset="0"/>
            </a:endParaRPr>
          </a:p>
        </p:txBody>
      </p:sp>
      <p:sp>
        <p:nvSpPr>
          <p:cNvPr id="48" name="Pfeil: nach rechts 47"/>
          <p:cNvSpPr/>
          <p:nvPr/>
        </p:nvSpPr>
        <p:spPr bwMode="gray">
          <a:xfrm>
            <a:off x="1372206" y="2984046"/>
            <a:ext cx="143104" cy="140859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grpSp>
        <p:nvGrpSpPr>
          <p:cNvPr id="49" name="Gruppieren 48"/>
          <p:cNvGrpSpPr/>
          <p:nvPr/>
        </p:nvGrpSpPr>
        <p:grpSpPr>
          <a:xfrm>
            <a:off x="5907872" y="2591824"/>
            <a:ext cx="903570" cy="827690"/>
            <a:chOff x="4195026" y="4808065"/>
            <a:chExt cx="903570" cy="827690"/>
          </a:xfrm>
        </p:grpSpPr>
        <p:grpSp>
          <p:nvGrpSpPr>
            <p:cNvPr id="50" name="Gruppieren 49"/>
            <p:cNvGrpSpPr/>
            <p:nvPr/>
          </p:nvGrpSpPr>
          <p:grpSpPr>
            <a:xfrm>
              <a:off x="4195026" y="4808065"/>
              <a:ext cx="903570" cy="827690"/>
              <a:chOff x="3021960" y="3206059"/>
              <a:chExt cx="903570" cy="827690"/>
            </a:xfrm>
          </p:grpSpPr>
          <p:sp>
            <p:nvSpPr>
              <p:cNvPr id="52" name="Cube 51"/>
              <p:cNvSpPr/>
              <p:nvPr/>
            </p:nvSpPr>
            <p:spPr bwMode="gray">
              <a:xfrm>
                <a:off x="3021960" y="3206059"/>
                <a:ext cx="903570" cy="827690"/>
              </a:xfrm>
              <a:prstGeom prst="cube">
                <a:avLst/>
              </a:prstGeom>
              <a:solidFill>
                <a:schemeClr val="bg1"/>
              </a:solidFill>
              <a:ln w="19050" algn="ctr">
                <a:solidFill>
                  <a:schemeClr val="tx2"/>
                </a:solidFill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rtl="0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>
                  <a:cs typeface="Arial" charset="0"/>
                </a:endParaRPr>
              </a:p>
            </p:txBody>
          </p:sp>
          <p:sp>
            <p:nvSpPr>
              <p:cNvPr id="53" name="Rechteck 52"/>
              <p:cNvSpPr/>
              <p:nvPr/>
            </p:nvSpPr>
            <p:spPr>
              <a:xfrm>
                <a:off x="3127005" y="3377042"/>
                <a:ext cx="443368" cy="64633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spAutoFit/>
              </a:bodyPr>
              <a:lstStyle/>
              <a:p>
                <a:pPr algn="ctr" rtl="0"/>
                <a:endParaRPr lang="de-DE" sz="3600" b="0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</p:grpSp>
        <p:sp>
          <p:nvSpPr>
            <p:cNvPr id="51" name="Gewitterblitz 50"/>
            <p:cNvSpPr/>
            <p:nvPr/>
          </p:nvSpPr>
          <p:spPr bwMode="gray">
            <a:xfrm>
              <a:off x="4390206" y="5127104"/>
              <a:ext cx="338823" cy="370490"/>
            </a:xfrm>
            <a:prstGeom prst="lightningBolt">
              <a:avLst/>
            </a:prstGeom>
            <a:solidFill>
              <a:srgbClr val="FFFF00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rtl="0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sz="1800" dirty="0" err="1">
                <a:cs typeface="Arial" charset="0"/>
              </a:endParaRPr>
            </a:p>
          </p:txBody>
        </p:sp>
      </p:grpSp>
      <p:sp>
        <p:nvSpPr>
          <p:cNvPr id="54" name="Pfeil: nach rechts 53"/>
          <p:cNvSpPr/>
          <p:nvPr/>
        </p:nvSpPr>
        <p:spPr bwMode="gray">
          <a:xfrm>
            <a:off x="7040209" y="1257006"/>
            <a:ext cx="1544207" cy="465867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err="1">
                <a:cs typeface="Arial" charset="0"/>
              </a:rPr>
              <a:t>recover</a:t>
            </a:r>
            <a:endParaRPr lang="de-DE" sz="1800" dirty="0">
              <a:cs typeface="Arial" charset="0"/>
            </a:endParaRPr>
          </a:p>
        </p:txBody>
      </p:sp>
      <p:sp>
        <p:nvSpPr>
          <p:cNvPr id="57" name="Pfeil: nach rechts 56"/>
          <p:cNvSpPr/>
          <p:nvPr/>
        </p:nvSpPr>
        <p:spPr bwMode="gray">
          <a:xfrm>
            <a:off x="6995225" y="2747129"/>
            <a:ext cx="1544207" cy="465867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err="1">
                <a:cs typeface="Arial" charset="0"/>
              </a:rPr>
              <a:t>recover</a:t>
            </a:r>
            <a:endParaRPr lang="de-DE" sz="1800" dirty="0">
              <a:cs typeface="Arial" charset="0"/>
            </a:endParaRPr>
          </a:p>
        </p:txBody>
      </p:sp>
      <p:grpSp>
        <p:nvGrpSpPr>
          <p:cNvPr id="58" name="Gruppieren 57"/>
          <p:cNvGrpSpPr/>
          <p:nvPr/>
        </p:nvGrpSpPr>
        <p:grpSpPr>
          <a:xfrm>
            <a:off x="8739971" y="1037850"/>
            <a:ext cx="903570" cy="827690"/>
            <a:chOff x="5615608" y="4162340"/>
            <a:chExt cx="903570" cy="827690"/>
          </a:xfrm>
        </p:grpSpPr>
        <p:sp>
          <p:nvSpPr>
            <p:cNvPr id="59" name="Cube 58"/>
            <p:cNvSpPr/>
            <p:nvPr/>
          </p:nvSpPr>
          <p:spPr bwMode="gray">
            <a:xfrm>
              <a:off x="5615608" y="4162340"/>
              <a:ext cx="903570" cy="827690"/>
            </a:xfrm>
            <a:prstGeom prst="cube">
              <a:avLst/>
            </a:prstGeom>
            <a:solidFill>
              <a:schemeClr val="bg1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rtl="0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sz="1800" dirty="0" err="1">
                <a:cs typeface="Arial" charset="0"/>
              </a:endParaRPr>
            </a:p>
          </p:txBody>
        </p:sp>
        <p:sp>
          <p:nvSpPr>
            <p:cNvPr id="60" name="Rechteck 59"/>
            <p:cNvSpPr/>
            <p:nvPr/>
          </p:nvSpPr>
          <p:spPr>
            <a:xfrm>
              <a:off x="5760000" y="4343699"/>
              <a:ext cx="443368" cy="64633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 rtl="0"/>
              <a:r>
                <a:rPr lang="de-DE" sz="3600" b="0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7th</a:t>
              </a:r>
            </a:p>
          </p:txBody>
        </p:sp>
      </p:grpSp>
      <p:sp>
        <p:nvSpPr>
          <p:cNvPr id="62" name="Pfeil: nach rechts 61"/>
          <p:cNvSpPr/>
          <p:nvPr/>
        </p:nvSpPr>
        <p:spPr bwMode="gray">
          <a:xfrm rot="5400000">
            <a:off x="7669462" y="2631202"/>
            <a:ext cx="143104" cy="140859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grpSp>
        <p:nvGrpSpPr>
          <p:cNvPr id="63" name="Gruppieren 62"/>
          <p:cNvGrpSpPr/>
          <p:nvPr/>
        </p:nvGrpSpPr>
        <p:grpSpPr>
          <a:xfrm>
            <a:off x="7447134" y="1944538"/>
            <a:ext cx="587760" cy="672019"/>
            <a:chOff x="5615608" y="4162340"/>
            <a:chExt cx="903570" cy="950923"/>
          </a:xfrm>
        </p:grpSpPr>
        <p:sp>
          <p:nvSpPr>
            <p:cNvPr id="64" name="Cube 63"/>
            <p:cNvSpPr/>
            <p:nvPr/>
          </p:nvSpPr>
          <p:spPr bwMode="gray">
            <a:xfrm>
              <a:off x="5615608" y="4162340"/>
              <a:ext cx="903570" cy="827690"/>
            </a:xfrm>
            <a:prstGeom prst="cube">
              <a:avLst/>
            </a:prstGeom>
            <a:solidFill>
              <a:schemeClr val="bg1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rtl="0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sz="1800" dirty="0" err="1">
                <a:cs typeface="Arial" charset="0"/>
              </a:endParaRPr>
            </a:p>
          </p:txBody>
        </p:sp>
        <p:sp>
          <p:nvSpPr>
            <p:cNvPr id="65" name="Rechteck 64"/>
            <p:cNvSpPr/>
            <p:nvPr/>
          </p:nvSpPr>
          <p:spPr>
            <a:xfrm>
              <a:off x="5760000" y="4198689"/>
              <a:ext cx="443368" cy="914574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 rtl="0"/>
              <a:r>
                <a:rPr lang="de-DE" sz="3600" b="0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8th</a:t>
              </a:r>
            </a:p>
          </p:txBody>
        </p:sp>
      </p:grpSp>
      <p:grpSp>
        <p:nvGrpSpPr>
          <p:cNvPr id="66" name="Gruppieren 65"/>
          <p:cNvGrpSpPr/>
          <p:nvPr/>
        </p:nvGrpSpPr>
        <p:grpSpPr>
          <a:xfrm>
            <a:off x="8752207" y="2591824"/>
            <a:ext cx="903570" cy="827690"/>
            <a:chOff x="5615608" y="4162340"/>
            <a:chExt cx="903570" cy="827690"/>
          </a:xfrm>
        </p:grpSpPr>
        <p:sp>
          <p:nvSpPr>
            <p:cNvPr id="67" name="Cube 66"/>
            <p:cNvSpPr/>
            <p:nvPr/>
          </p:nvSpPr>
          <p:spPr bwMode="gray">
            <a:xfrm>
              <a:off x="5615608" y="4162340"/>
              <a:ext cx="903570" cy="827690"/>
            </a:xfrm>
            <a:prstGeom prst="cube">
              <a:avLst/>
            </a:prstGeom>
            <a:solidFill>
              <a:schemeClr val="bg1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rtl="0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sz="1800" dirty="0" err="1">
                <a:cs typeface="Arial" charset="0"/>
              </a:endParaRPr>
            </a:p>
          </p:txBody>
        </p:sp>
        <p:sp>
          <p:nvSpPr>
            <p:cNvPr id="68" name="Rechteck 67"/>
            <p:cNvSpPr/>
            <p:nvPr/>
          </p:nvSpPr>
          <p:spPr>
            <a:xfrm>
              <a:off x="5760000" y="4343699"/>
              <a:ext cx="443368" cy="64633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 rtl="0"/>
              <a:r>
                <a:rPr lang="de-DE" sz="3600" b="0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8th</a:t>
              </a:r>
            </a:p>
          </p:txBody>
        </p:sp>
      </p:grp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209896" y="3683775"/>
            <a:ext cx="10684041" cy="2677656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4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ublic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y &lt;Integer&gt; </a:t>
            </a:r>
            <a:r>
              <a:rPr lang="de-DE" altLang="de-DE" sz="2400" dirty="0" err="1">
                <a:solidFill>
                  <a:srgbClr val="FFC66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vide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4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vidend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4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visor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  <a:b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lang="de-DE" altLang="de-DE" sz="24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() -&gt; </a:t>
            </a:r>
            <a:r>
              <a:rPr lang="de-DE" altLang="de-DE" sz="2400" dirty="0" err="1">
                <a:solidFill>
                  <a:srgbClr val="B389C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vidend</a:t>
            </a:r>
            <a:r>
              <a:rPr lang="de-DE" altLang="de-DE" sz="2400" dirty="0">
                <a:solidFill>
                  <a:srgbClr val="B389C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 </a:t>
            </a:r>
            <a:r>
              <a:rPr lang="de-DE" altLang="de-DE" sz="2400" dirty="0" err="1">
                <a:solidFill>
                  <a:srgbClr val="B389C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visor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quotient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quotient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+ </a:t>
            </a:r>
            <a:r>
              <a:rPr lang="de-DE" altLang="de-DE" sz="24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coverWith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ex -&gt;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lang="de-DE" altLang="de-DE" sz="24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ccess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400" dirty="0" err="1">
                <a:solidFill>
                  <a:srgbClr val="B389C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vidend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de-DE" altLang="de-DE" sz="4800" dirty="0">
              <a:latin typeface="Arial" panose="020B0604020202020204" pitchFamily="34" charset="0"/>
            </a:endParaRPr>
          </a:p>
          <a:p>
            <a:pPr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altLang="de-DE" sz="2400" dirty="0">
              <a:solidFill>
                <a:srgbClr val="A9B7C6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4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vide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4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8th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DE" altLang="de-DE" sz="24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2200" dirty="0">
                <a:latin typeface="Arial" panose="020B0604020202020204" pitchFamily="34" charset="0"/>
              </a:rPr>
              <a:t>;</a:t>
            </a:r>
            <a:endParaRPr lang="de-DE" altLang="de-DE" sz="4800" dirty="0">
              <a:latin typeface="Arial" panose="020B0604020202020204" pitchFamily="34" charset="0"/>
            </a:endParaRPr>
          </a:p>
        </p:txBody>
      </p:sp>
      <p:sp>
        <p:nvSpPr>
          <p:cNvPr id="69" name="Pfeil: nach rechts 68"/>
          <p:cNvSpPr/>
          <p:nvPr/>
        </p:nvSpPr>
        <p:spPr bwMode="gray">
          <a:xfrm rot="16200000">
            <a:off x="4863238" y="1732361"/>
            <a:ext cx="143104" cy="140859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70" name="Pfeil: nach rechts 69"/>
          <p:cNvSpPr/>
          <p:nvPr/>
        </p:nvSpPr>
        <p:spPr bwMode="gray">
          <a:xfrm rot="16200000">
            <a:off x="7679057" y="1727232"/>
            <a:ext cx="143104" cy="140859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71" name="Textfeld 70"/>
          <p:cNvSpPr txBox="1"/>
          <p:nvPr/>
        </p:nvSpPr>
        <p:spPr>
          <a:xfrm>
            <a:off x="8040768" y="2034187"/>
            <a:ext cx="847522" cy="338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defTabSz="457322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1800" dirty="0" err="1">
                <a:ea typeface="Swagger" pitchFamily="2" charset="0"/>
              </a:rPr>
              <a:t>Success</a:t>
            </a:r>
            <a:endParaRPr lang="de-DE" sz="1800" dirty="0">
              <a:ea typeface="Swagge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8511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Function with side effect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13</a:t>
            </a:fld>
            <a:endParaRPr lang="en-US" dirty="0"/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324000" y="2454781"/>
            <a:ext cx="10892857" cy="3139321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st &lt;User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s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rrayList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&gt; (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ublic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oid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ddUs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User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</a:p>
          <a:p>
            <a:pPr lvl="0"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// Throws one 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f the user is a hacker.</a:t>
            </a:r>
          </a:p>
          <a:p>
            <a:pPr lvl="0"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.getName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quals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ack0r"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 {</a:t>
            </a:r>
            <a:b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row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validNameException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2200" b="0" i="0" u="none" strike="noStrike" cap="none" normalizeH="0" baseline="0" dirty="0">
              <a:ln>
                <a:noFill/>
              </a:ln>
              <a:solidFill>
                <a:srgbClr val="CC7832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change one 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tance variable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s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add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Freeform 8"/>
          <p:cNvSpPr>
            <a:spLocks/>
          </p:cNvSpPr>
          <p:nvPr/>
        </p:nvSpPr>
        <p:spPr bwMode="gray">
          <a:xfrm>
            <a:off x="238126" y="763883"/>
            <a:ext cx="8834438" cy="1395497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Function has no return value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A </a:t>
            </a:r>
            <a:r>
              <a:rPr lang="de-DE" dirty="0" err="1"/>
              <a:t>Instance variable</a:t>
            </a:r>
            <a:r>
              <a:rPr lang="de-DE" dirty="0"/>
              <a:t> will be modified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The error message is part of the control flow, but not part of the signature</a:t>
            </a:r>
          </a:p>
        </p:txBody>
      </p:sp>
    </p:spTree>
    <p:extLst>
      <p:ext uri="{BB962C8B-B14F-4D97-AF65-F5344CB8AC3E}">
        <p14:creationId xmlns:p14="http://schemas.microsoft.com/office/powerpoint/2010/main" val="2377482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FUNCTION WITHOUT SIDE EFFECT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14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756000"/>
            <a:ext cx="8834438" cy="591952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Possible validation errors are made explicit in the signature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123005" y="1430774"/>
            <a:ext cx="11212401" cy="4832092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ither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ationErro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st &lt;User&gt;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ddUs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List &lt;User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s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Validation &lt;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idationErro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idation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idate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idation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s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epend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oEith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ation &lt;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ationErro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idate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User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.getName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quals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Hack0r"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 {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idation.</a:t>
            </a:r>
            <a:r>
              <a:rPr kumimoji="0" lang="de-DE" altLang="de-DE" sz="22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valid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validNameErro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idation.</a:t>
            </a:r>
            <a:r>
              <a:rPr kumimoji="0" lang="de-DE" altLang="de-DE" sz="22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id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7549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imperative </a:t>
            </a:r>
            <a:r>
              <a:rPr lang="de-DE" dirty="0" err="1"/>
              <a:t>vs.</a:t>
            </a:r>
            <a:r>
              <a:rPr lang="de-DE" dirty="0"/>
              <a:t> functional: </a:t>
            </a:r>
            <a:r>
              <a:rPr lang="de-DE" dirty="0" err="1"/>
              <a:t>Separ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CONCERN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15</a:t>
            </a:fld>
            <a:endParaRPr lang="en-US" dirty="0"/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562125" y="871549"/>
            <a:ext cx="9562950" cy="3447098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 &lt;String&gt; </a:t>
            </a:r>
            <a:r>
              <a:rPr lang="de-DE" altLang="de-DE" sz="1800" dirty="0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rrors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rrayList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&gt; ();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rrorCount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0;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Reader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Reader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Name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b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fferedReader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r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fferedReader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ne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r.readLine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il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rrorCount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&lt;40</a:t>
            </a:r>
            <a: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&amp;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ne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! = zero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  <a:b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ne.startsWith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"ERROR"))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rrors.add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ne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rrorCount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++;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}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ne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r.readLine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562125" y="4447260"/>
            <a:ext cx="9562950" cy="1138773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 &lt;String&gt;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rrors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s.</a:t>
            </a:r>
            <a:r>
              <a:rPr lang="de-DE" altLang="de-DE" sz="1800" i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nes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ths.</a:t>
            </a:r>
            <a:r>
              <a:rPr lang="de-DE" altLang="de-DE" sz="1800" i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Name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ter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l -&gt; 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.startsWith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"ERROR"))</a:t>
            </a:r>
            <a:b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mit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40)</a:t>
            </a:r>
          </a:p>
          <a:p>
            <a:pPr lvl="0"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DE" altLang="de-DE" sz="1800" dirty="0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llect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i="1" dirty="0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List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;</a:t>
            </a:r>
            <a:endParaRPr lang="de-DE" altLang="de-DE" sz="4000" dirty="0">
              <a:solidFill>
                <a:srgbClr val="92D05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5679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What are persistent data structures?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16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883438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Returns when there is a change </a:t>
            </a:r>
            <a:r>
              <a:rPr lang="de-DE" dirty="0"/>
              <a:t>returns a modified copy of itself and retains its previous state</a:t>
            </a:r>
          </a:p>
          <a:p>
            <a:pPr marL="792072" lvl="1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No side effects possible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Data structures </a:t>
            </a:r>
            <a:r>
              <a:rPr lang="de-DE" dirty="0"/>
              <a:t>can share values ​​held in memory</a:t>
            </a:r>
          </a:p>
          <a:p>
            <a:pPr marL="792072" lvl="1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Storage efficiency</a:t>
            </a:r>
          </a:p>
          <a:p>
            <a:pPr marL="792072" lvl="1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37237" y="4973638"/>
            <a:ext cx="2476500" cy="819150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1235" y="5002213"/>
            <a:ext cx="2476500" cy="381000"/>
          </a:xfrm>
          <a:prstGeom prst="rect">
            <a:avLst/>
          </a:prstGeom>
        </p:spPr>
      </p:pic>
      <p:sp>
        <p:nvSpPr>
          <p:cNvPr id="8" name="Pfeil: nach rechts 7"/>
          <p:cNvSpPr/>
          <p:nvPr/>
        </p:nvSpPr>
        <p:spPr bwMode="gray">
          <a:xfrm>
            <a:off x="4194494" y="4939271"/>
            <a:ext cx="935984" cy="649288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562125" y="3412994"/>
            <a:ext cx="8410425" cy="1015663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st &lt;Integer&gt; list1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unning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st &lt;Integer&gt; list2 = list1.replace 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975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Functional PROGRAMMING with JAVA 8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17</a:t>
            </a:fld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/>
          <a:srcRect t="16698"/>
          <a:stretch/>
        </p:blipFill>
        <p:spPr>
          <a:xfrm>
            <a:off x="5422741" y="1064741"/>
            <a:ext cx="5591334" cy="3516276"/>
          </a:xfrm>
          <a:prstGeom prst="rect">
            <a:avLst/>
          </a:prstGeom>
        </p:spPr>
      </p:pic>
      <p:sp>
        <p:nvSpPr>
          <p:cNvPr id="11" name="Freeform 8"/>
          <p:cNvSpPr>
            <a:spLocks/>
          </p:cNvSpPr>
          <p:nvPr/>
        </p:nvSpPr>
        <p:spPr bwMode="gray">
          <a:xfrm>
            <a:off x="238125" y="1064741"/>
            <a:ext cx="5429249" cy="448833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Java Collections API full of side effects</a:t>
            </a:r>
          </a:p>
          <a:p>
            <a:pPr marL="792072" lvl="1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add</a:t>
            </a:r>
            <a:r>
              <a:rPr lang="de-DE" sz="2400" dirty="0"/>
              <a:t>(), </a:t>
            </a:r>
            <a:r>
              <a:rPr lang="de-DE" sz="2400" dirty="0" err="1"/>
              <a:t>remove</a:t>
            </a:r>
            <a:r>
              <a:rPr lang="de-DE" sz="2400" dirty="0"/>
              <a:t>(), </a:t>
            </a:r>
            <a:r>
              <a:rPr lang="de-DE" sz="2400" dirty="0" err="1"/>
              <a:t>clear</a:t>
            </a:r>
            <a:r>
              <a:rPr lang="de-DE" sz="2400" dirty="0"/>
              <a:t>()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Only three new data structures (optional, stream, </a:t>
            </a:r>
            <a:r>
              <a:rPr lang="de-DE" sz="2400" dirty="0" err="1"/>
              <a:t>CompletableFuture</a:t>
            </a:r>
            <a:r>
              <a:rPr lang="de-DE" sz="2400" dirty="0"/>
              <a:t>)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Only functional interfaces with up to two parameters (</a:t>
            </a:r>
            <a:r>
              <a:rPr lang="de-DE" sz="2400" dirty="0" err="1"/>
              <a:t>Function</a:t>
            </a:r>
            <a:r>
              <a:rPr lang="de-DE" sz="2400" dirty="0"/>
              <a:t>, </a:t>
            </a:r>
            <a:r>
              <a:rPr lang="de-DE" sz="2400" dirty="0" err="1"/>
              <a:t>BiFunction</a:t>
            </a:r>
            <a:r>
              <a:rPr lang="de-DE" sz="2400" dirty="0"/>
              <a:t>, ...)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Cumbersome Collection API: </a:t>
            </a:r>
            <a:r>
              <a:rPr lang="de-DE" dirty="0" err="1"/>
              <a:t>list.stream</a:t>
            </a:r>
            <a:r>
              <a:rPr lang="de-DE" dirty="0"/>
              <a:t>().</a:t>
            </a:r>
            <a:r>
              <a:rPr lang="de-DE" dirty="0" err="1"/>
              <a:t>map</a:t>
            </a:r>
            <a:r>
              <a:rPr lang="de-DE" dirty="0"/>
              <a:t>(...).</a:t>
            </a:r>
            <a:r>
              <a:rPr lang="de-DE" dirty="0" err="1"/>
              <a:t>collect</a:t>
            </a:r>
            <a:r>
              <a:rPr lang="de-DE" dirty="0"/>
              <a:t>(</a:t>
            </a:r>
            <a:r>
              <a:rPr lang="de-DE" dirty="0" err="1"/>
              <a:t>toList</a:t>
            </a:r>
            <a:r>
              <a:rPr lang="de-DE" dirty="0"/>
              <a:t>())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dirty="0"/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375219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JAVASLANG IS now VAVR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18</a:t>
            </a:fld>
            <a:endParaRPr lang="en-US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912" y="887413"/>
            <a:ext cx="5830888" cy="1947425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2"/>
          <a:srcRect l="1" r="57406"/>
          <a:stretch/>
        </p:blipFill>
        <p:spPr>
          <a:xfrm rot="10800000">
            <a:off x="7886699" y="2573338"/>
            <a:ext cx="2743199" cy="2151022"/>
          </a:xfrm>
          <a:prstGeom prst="rect">
            <a:avLst/>
          </a:prstGeom>
        </p:spPr>
      </p:pic>
      <p:sp>
        <p:nvSpPr>
          <p:cNvPr id="5" name="Pfeil: nach rechts 4"/>
          <p:cNvSpPr/>
          <p:nvPr/>
        </p:nvSpPr>
        <p:spPr bwMode="gray">
          <a:xfrm rot="1982941">
            <a:off x="4540184" y="2740997"/>
            <a:ext cx="935984" cy="649288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 rotWithShape="1">
          <a:blip r:embed="rId2"/>
          <a:srcRect l="42297"/>
          <a:stretch/>
        </p:blipFill>
        <p:spPr>
          <a:xfrm rot="8605569">
            <a:off x="3895399" y="3433727"/>
            <a:ext cx="3716338" cy="2151022"/>
          </a:xfrm>
          <a:prstGeom prst="rect">
            <a:avLst/>
          </a:prstGeom>
        </p:spPr>
      </p:pic>
      <p:sp>
        <p:nvSpPr>
          <p:cNvPr id="11" name="Rechteck 10"/>
          <p:cNvSpPr/>
          <p:nvPr/>
        </p:nvSpPr>
        <p:spPr bwMode="gray">
          <a:xfrm>
            <a:off x="7600950" y="2982099"/>
            <a:ext cx="2914650" cy="1333500"/>
          </a:xfrm>
          <a:prstGeom prst="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20497" y="412041"/>
            <a:ext cx="2910213" cy="2210859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8942" y="1488436"/>
            <a:ext cx="2253712" cy="7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5270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What is VAVR?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19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9599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A library that provides persistent data structures and algebraic data types for Java8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The naming is based on Scala</a:t>
            </a:r>
            <a:endParaRPr lang="en-US" sz="2400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500" y="2693616"/>
            <a:ext cx="10696575" cy="2517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2356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WHAT does functionals </a:t>
            </a:r>
            <a:r>
              <a:rPr lang="de-DE" dirty="0" err="1"/>
              <a:t>programming</a:t>
            </a:r>
            <a:r>
              <a:rPr lang="de-DE" dirty="0"/>
              <a:t> out?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2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8456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 err="1"/>
              <a:t>Functions</a:t>
            </a:r>
            <a:r>
              <a:rPr lang="en-US" sz="2400" dirty="0"/>
              <a:t> </a:t>
            </a:r>
            <a:r>
              <a:rPr lang="en-US" sz="2400" dirty="0" err="1"/>
              <a:t>are</a:t>
            </a:r>
            <a:r>
              <a:rPr lang="en-US" sz="2400" dirty="0"/>
              <a:t> "</a:t>
            </a:r>
            <a:r>
              <a:rPr lang="de-DE" sz="2400" dirty="0"/>
              <a:t>first-class </a:t>
            </a:r>
            <a:r>
              <a:rPr lang="de-DE" sz="2400" dirty="0" err="1"/>
              <a:t>citizen</a:t>
            </a:r>
            <a:r>
              <a:rPr lang="en-US" sz="2400" dirty="0"/>
              <a:t>”</a:t>
            </a:r>
          </a:p>
          <a:p>
            <a:pPr marL="792072" lvl="1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 err="1"/>
              <a:t>Functions</a:t>
            </a:r>
            <a:r>
              <a:rPr lang="de-DE" sz="2400" dirty="0"/>
              <a:t> can be assigned to variables</a:t>
            </a:r>
            <a:endParaRPr lang="en-US" sz="2400" dirty="0"/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Composition of functions 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Higher order functions</a:t>
            </a:r>
          </a:p>
          <a:p>
            <a:pPr marL="792072" lvl="1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Functions can be passed as parameters</a:t>
            </a:r>
          </a:p>
          <a:p>
            <a:pPr marL="792072" lvl="1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Functions can be returned as a result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Functions without side effects (referential transparency)</a:t>
            </a:r>
            <a:r>
              <a:rPr lang="en-US" sz="2400" dirty="0"/>
              <a:t> 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Persistent (immutable) data structures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Algebraic data types (sum and product types)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057717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VAVR: persistent data structure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20</a:t>
            </a:fld>
            <a:endParaRPr lang="en-US" dirty="0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324000" y="1437906"/>
            <a:ext cx="10944075" cy="4832092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eam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 and 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llect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...) are not necessary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st &lt;String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ilterOranges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List &lt;String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ruits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ruits</a:t>
            </a:r>
            <a:endParaRPr kumimoji="0" lang="de-DE" altLang="de-DE" sz="2200" b="0" i="0" u="none" strike="noStrike" cap="none" normalizeH="0" baseline="0" dirty="0">
              <a:ln>
                <a:noFill/>
              </a:ln>
              <a:solidFill>
                <a:srgbClr val="A9B7C6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String ::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oUpperCase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ilt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ruit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ruit.equals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ORANGE"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altLang="de-DE" sz="2200" dirty="0">
              <a:solidFill>
                <a:srgbClr val="A9B7C6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 &lt;String&gt;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uits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unning.</a:t>
            </a:r>
            <a:r>
              <a:rPr lang="de-DE" altLang="de-DE" sz="22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orange"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2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e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2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emon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ava.util.List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String&gt; oranges =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terOranges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uits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JavaList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lvl="0"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altLang="de-DE" sz="2200" dirty="0">
              <a:solidFill>
                <a:srgbClr val="CC783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ava.util.List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String&gt;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uits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Arrays</a:t>
            </a:r>
          </a:p>
          <a:p>
            <a:pPr lvl="0"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lang="de-DE" altLang="de-DE" sz="22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List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orange"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2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e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2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emon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 &lt;String&gt; oranges =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terOranges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unning.</a:t>
            </a:r>
            <a:r>
              <a:rPr lang="de-DE" altLang="de-DE" sz="22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All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uits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Freeform 8"/>
          <p:cNvSpPr>
            <a:spLocks/>
          </p:cNvSpPr>
          <p:nvPr/>
        </p:nvSpPr>
        <p:spPr bwMode="gray">
          <a:xfrm>
            <a:off x="123826" y="756000"/>
            <a:ext cx="10182224" cy="49135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The data structures can be converted as required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99793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VAVR: persistent data structure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21</a:t>
            </a:fld>
            <a:endParaRPr lang="en-US" dirty="0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194625" y="724746"/>
            <a:ext cx="11102025" cy="5586145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1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Java9 Factory method for initialization</a:t>
            </a:r>
            <a:endParaRPr kumimoji="0" lang="de-DE" altLang="de-DE" sz="2100" b="0" i="0" u="none" strike="noStrike" cap="none" normalizeH="0" baseline="0" dirty="0">
              <a:ln>
                <a:noFill/>
              </a:ln>
              <a:solidFill>
                <a:srgbClr val="A9B7C6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String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taryAmount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ces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ashMap.</a:t>
            </a:r>
            <a:r>
              <a:rPr kumimoji="0" lang="de-DE" altLang="de-DE" sz="21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orange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y.</a:t>
            </a:r>
            <a:r>
              <a:rPr kumimoji="0" lang="de-DE" altLang="de-DE" sz="21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EUR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pple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y.</a:t>
            </a:r>
            <a:r>
              <a:rPr kumimoji="0" lang="de-DE" altLang="de-DE" sz="21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.50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EUR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emon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y.</a:t>
            </a:r>
            <a:r>
              <a:rPr kumimoji="0" lang="de-DE" altLang="de-DE" sz="21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EUR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de-DE" sz="2100" b="0" i="0" u="none" strike="noStrike" cap="none" normalizeH="0" baseline="0" dirty="0">
              <a:ln>
                <a:noFill/>
              </a:ln>
              <a:solidFill>
                <a:srgbClr val="CC7832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21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Option is built into the API</a:t>
            </a: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ption &lt;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taryAmount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eachPrice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ces.get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each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String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taryAmount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oubledPrices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ces</a:t>
            </a:r>
            <a:endParaRPr kumimoji="0" lang="de-DE" altLang="de-DE" sz="2100" b="0" i="0" u="none" strike="noStrike" cap="none" normalizeH="0" baseline="0" dirty="0">
              <a:ln>
                <a:noFill/>
              </a:ln>
              <a:solidFill>
                <a:srgbClr val="A9B7C6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21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Values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ce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ce.multiply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taryAmount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ce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unning.</a:t>
            </a:r>
            <a:r>
              <a:rPr kumimoji="0" lang="de-DE" altLang="de-DE" sz="21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orange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orange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pple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oubledPrices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duce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taryAmount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dd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1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ce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EqualTo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y.</a:t>
            </a:r>
            <a:r>
              <a:rPr kumimoji="0" lang="de-DE" altLang="de-DE" sz="21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1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EUR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9792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VAVR: persistent data structure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22</a:t>
            </a:fld>
            <a:endParaRPr lang="en-US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4539" y="854074"/>
            <a:ext cx="4432840" cy="4809601"/>
          </a:xfrm>
          <a:prstGeom prst="rect">
            <a:avLst/>
          </a:prstGeom>
        </p:spPr>
      </p:pic>
      <p:sp>
        <p:nvSpPr>
          <p:cNvPr id="9" name="Sprechblase: oval 8"/>
          <p:cNvSpPr/>
          <p:nvPr/>
        </p:nvSpPr>
        <p:spPr bwMode="gray">
          <a:xfrm>
            <a:off x="6817917" y="1013592"/>
            <a:ext cx="3800159" cy="1373362"/>
          </a:xfrm>
          <a:prstGeom prst="wedgeEllipseCallou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7" name="Freeform 8"/>
          <p:cNvSpPr>
            <a:spLocks/>
          </p:cNvSpPr>
          <p:nvPr/>
        </p:nvSpPr>
        <p:spPr bwMode="gray">
          <a:xfrm>
            <a:off x="7445031" y="1200916"/>
            <a:ext cx="2323771" cy="997576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r>
              <a:rPr lang="de-DE" sz="6600" dirty="0"/>
              <a:t>OMG!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67500" y="2706196"/>
            <a:ext cx="1771650" cy="2581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2314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VAVR: Algebraic data types 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23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9599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r>
              <a:rPr lang="de-DE" dirty="0"/>
              <a:t>Product types: usually contain several values ​​called fields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Tuple0… 8</a:t>
            </a:r>
          </a:p>
          <a:p>
            <a:pPr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endParaRPr lang="de-DE" dirty="0"/>
          </a:p>
          <a:p>
            <a:pPr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r>
              <a:rPr lang="de-DE" dirty="0"/>
              <a:t>Sum or variant types: There is only a fixed number of variants for each type</a:t>
            </a:r>
            <a:endParaRPr lang="de-DE" sz="2400" dirty="0"/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Try (</a:t>
            </a:r>
            <a:r>
              <a:rPr lang="de-DE" sz="2400" dirty="0" err="1"/>
              <a:t>Sucess</a:t>
            </a:r>
            <a:r>
              <a:rPr lang="de-DE" sz="2400" dirty="0"/>
              <a:t>, </a:t>
            </a:r>
            <a:r>
              <a:rPr lang="de-DE" sz="2400" dirty="0" err="1"/>
              <a:t>Failure</a:t>
            </a:r>
            <a:r>
              <a:rPr lang="de-DE" sz="2400" dirty="0"/>
              <a:t>)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Either</a:t>
            </a:r>
            <a:r>
              <a:rPr lang="de-DE" sz="2400" dirty="0"/>
              <a:t> (</a:t>
            </a:r>
            <a:r>
              <a:rPr lang="de-DE" sz="2400" dirty="0" err="1"/>
              <a:t>Left</a:t>
            </a:r>
            <a:r>
              <a:rPr lang="de-DE" sz="2400" dirty="0"/>
              <a:t>, </a:t>
            </a:r>
            <a:r>
              <a:rPr lang="de-DE" sz="2400" dirty="0" err="1"/>
              <a:t>Right</a:t>
            </a:r>
            <a:r>
              <a:rPr lang="de-DE" sz="2400" dirty="0"/>
              <a:t>)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Option (</a:t>
            </a:r>
            <a:r>
              <a:rPr lang="de-DE" sz="2400" dirty="0" err="1"/>
              <a:t>Some</a:t>
            </a:r>
            <a:r>
              <a:rPr lang="de-DE" sz="2400" dirty="0"/>
              <a:t>, None)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589018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VAVR: TUPLES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24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5" y="753941"/>
            <a:ext cx="9753599" cy="865309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sz="2400" dirty="0"/>
              <a:t>There are </a:t>
            </a:r>
            <a:r>
              <a:rPr lang="de-DE" sz="2400" dirty="0" err="1"/>
              <a:t>Tuple</a:t>
            </a:r>
            <a:r>
              <a:rPr lang="de-DE" sz="2400" dirty="0"/>
              <a:t> with up to 8 fields</a:t>
            </a:r>
          </a:p>
          <a:p>
            <a:pPr marL="342900" indent="-3429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sz="2400" dirty="0" err="1"/>
              <a:t>Tuples</a:t>
            </a:r>
            <a:r>
              <a:rPr lang="de-DE" sz="2400" dirty="0"/>
              <a:t> are useful when a function has more than one return value</a:t>
            </a:r>
            <a:endParaRPr lang="en-US" sz="2400" dirty="0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466726" y="2059676"/>
            <a:ext cx="8801100" cy="3170099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= (Java, 8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uple2 &lt;String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java8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uple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Java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8th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= 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v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1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uple2 &lt;String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vavr1 = java8.map (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s -&gt;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.substring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+ 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0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r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 -&gt; i /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8th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v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vavr1.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_1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n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vavr1.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_2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878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VAVR: Try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25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756000"/>
            <a:ext cx="8834438" cy="725959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sz="2400" dirty="0"/>
              <a:t>Represents a calculation that is either successfully completed (</a:t>
            </a:r>
            <a:r>
              <a:rPr lang="de-DE" altLang="de-DE" sz="2400" dirty="0" err="1"/>
              <a:t>Success</a:t>
            </a:r>
            <a:r>
              <a:rPr lang="de-DE" altLang="de-DE" sz="2400" dirty="0"/>
              <a:t>) or ended with an error (</a:t>
            </a:r>
            <a:r>
              <a:rPr lang="de-DE" altLang="de-DE" sz="2400" dirty="0" err="1"/>
              <a:t>Failure</a:t>
            </a:r>
            <a:r>
              <a:rPr lang="de-DE" altLang="de-DE" sz="2400" dirty="0"/>
              <a:t>)</a:t>
            </a:r>
            <a:endParaRPr lang="en-US" sz="2400" dirty="0"/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324000" y="1715393"/>
            <a:ext cx="10620225" cy="2862322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Service interface with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hecke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xception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rfac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elloWorldServic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{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ayHelloWorl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urnam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sinessExceptio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() -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JUG Darmstadt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+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and all other JUGs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Failur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lang="de-DE" altLang="de-DE" sz="20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warn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0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andled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0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endParaRPr lang="de-DE" altLang="de-DE" sz="4400" dirty="0">
              <a:latin typeface="Arial" panose="020B0604020202020204" pitchFamily="34" charset="0"/>
            </a:endParaRPr>
          </a:p>
          <a:p>
            <a:pPr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cover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sinessException.</a:t>
            </a:r>
            <a:r>
              <a:rPr lang="de-DE" altLang="de-DE" sz="20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I have to go!"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OrEls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() -&gt; 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I have to go too"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Rectangle 4"/>
          <p:cNvSpPr>
            <a:spLocks noChangeArrowheads="1"/>
          </p:cNvSpPr>
          <p:nvPr/>
        </p:nvSpPr>
        <p:spPr bwMode="auto">
          <a:xfrm>
            <a:off x="324001" y="4762001"/>
            <a:ext cx="10620224" cy="1015663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rfac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elloWorldServic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{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 &lt;String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ayHelloWorl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urnam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4252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VAVR: EITHER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26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756000"/>
            <a:ext cx="8834438" cy="214912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Represents one of two possible types</a:t>
            </a:r>
          </a:p>
          <a:p>
            <a:pPr marL="342900" indent="-3429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Suitable as </a:t>
            </a:r>
            <a:r>
              <a:rPr lang="de-DE" dirty="0" err="1"/>
              <a:t>either ... or</a:t>
            </a:r>
            <a:r>
              <a:rPr lang="de-DE" dirty="0"/>
              <a:t> Return value (</a:t>
            </a:r>
            <a:r>
              <a:rPr lang="de-DE" dirty="0" err="1"/>
              <a:t>Right</a:t>
            </a:r>
            <a:r>
              <a:rPr lang="de-DE" dirty="0"/>
              <a:t> or </a:t>
            </a:r>
            <a:r>
              <a:rPr lang="de-DE" dirty="0" err="1"/>
              <a:t>Left</a:t>
            </a:r>
            <a:r>
              <a:rPr lang="de-DE" dirty="0"/>
              <a:t>)</a:t>
            </a:r>
          </a:p>
          <a:p>
            <a:pPr marL="342900" indent="-3429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dirty="0"/>
              <a:t>Can also be used as an alternative to Option and Try</a:t>
            </a:r>
          </a:p>
          <a:p>
            <a:pPr marL="918972" lvl="1" indent="-3429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dirty="0" err="1"/>
              <a:t>Right</a:t>
            </a:r>
            <a:r>
              <a:rPr lang="de-DE" altLang="de-DE" dirty="0"/>
              <a:t> comparable to </a:t>
            </a:r>
            <a:r>
              <a:rPr lang="de-DE" altLang="de-DE" dirty="0" err="1"/>
              <a:t>Some</a:t>
            </a:r>
            <a:r>
              <a:rPr lang="de-DE" altLang="de-DE" dirty="0"/>
              <a:t> or </a:t>
            </a:r>
            <a:r>
              <a:rPr lang="de-DE" altLang="de-DE" dirty="0" err="1"/>
              <a:t>Success</a:t>
            </a:r>
            <a:r>
              <a:rPr lang="de-DE" altLang="de-DE" dirty="0"/>
              <a:t> </a:t>
            </a:r>
          </a:p>
          <a:p>
            <a:pPr marL="918972" lvl="1" indent="-3429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dirty="0" err="1"/>
              <a:t>Left</a:t>
            </a:r>
            <a:r>
              <a:rPr lang="de-DE" altLang="de-DE" dirty="0"/>
              <a:t> comparable to None or </a:t>
            </a:r>
            <a:r>
              <a:rPr lang="de-DE" altLang="de-DE" dirty="0" err="1"/>
              <a:t>Failure</a:t>
            </a:r>
            <a:r>
              <a:rPr lang="de-DE" altLang="de-DE" dirty="0"/>
              <a:t> </a:t>
            </a:r>
          </a:p>
          <a:p>
            <a:pPr marL="342900" indent="-3429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endParaRPr lang="en-US" sz="2400" dirty="0"/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431950" y="2971800"/>
            <a:ext cx="10582125" cy="2862322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ith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xceptio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ith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ither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igh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ello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worl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ither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String ::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oUpperCas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ge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altLang="de-DE" sz="2000" dirty="0">
              <a:solidFill>
                <a:srgbClr val="CC783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EqualTo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ELLO WORLD"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altLang="de-DE" sz="2000" dirty="0">
              <a:solidFill>
                <a:srgbClr val="CC783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y &lt;String&gt;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Try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ither.toTry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on &lt;String&gt;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Option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ither.toOption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8156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VAVR: option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27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756000"/>
            <a:ext cx="8834438" cy="725959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sz="2400" dirty="0"/>
              <a:t>Represents </a:t>
            </a:r>
            <a:r>
              <a:rPr lang="de-DE" dirty="0"/>
              <a:t>an optional value (</a:t>
            </a:r>
            <a:r>
              <a:rPr lang="de-DE" dirty="0" err="1"/>
              <a:t>Some</a:t>
            </a:r>
            <a:r>
              <a:rPr lang="de-DE" dirty="0"/>
              <a:t> or None)</a:t>
            </a:r>
          </a:p>
          <a:p>
            <a:pPr marL="342900" indent="-3429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Has more operators than Java 8's and is optional </a:t>
            </a:r>
            <a:r>
              <a:rPr lang="de-DE" dirty="0" err="1"/>
              <a:t>serializable</a:t>
            </a:r>
            <a:endParaRPr lang="de-DE" dirty="0"/>
          </a:p>
          <a:p>
            <a:pPr marL="342900" indent="-3429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Can be converted to other data types such as Try or </a:t>
            </a:r>
            <a:r>
              <a:rPr lang="de-DE" dirty="0" err="1"/>
              <a:t>Either</a:t>
            </a:r>
            <a:r>
              <a:rPr lang="de-DE" dirty="0"/>
              <a:t> be converted </a:t>
            </a:r>
            <a:endParaRPr lang="en-US" sz="2400" dirty="0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324000" y="2895867"/>
            <a:ext cx="9725025" cy="1323439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elloWorl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ption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ello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+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worl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eek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G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debug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Value: {}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getOrEls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() -&gt;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I have to go!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5351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VAVR: </a:t>
            </a:r>
            <a:r>
              <a:rPr lang="de-DE" dirty="0" err="1"/>
              <a:t>Lazy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28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756000"/>
            <a:ext cx="8834438" cy="214912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Represents a value that may not have been calculated yet</a:t>
            </a:r>
          </a:p>
          <a:p>
            <a:pPr marL="342900" indent="-3429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The calculation is thread-safe</a:t>
            </a:r>
          </a:p>
          <a:p>
            <a:pPr marL="342900" indent="-3429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Can you do it with a </a:t>
            </a:r>
            <a:r>
              <a:rPr lang="de-DE" dirty="0" err="1"/>
              <a:t>Supplier</a:t>
            </a:r>
            <a:r>
              <a:rPr lang="de-DE" dirty="0"/>
              <a:t> compare, but has one major difference: The calculated value is </a:t>
            </a:r>
            <a:r>
              <a:rPr lang="de-DE" dirty="0" err="1"/>
              <a:t>cached</a:t>
            </a:r>
            <a:endParaRPr lang="de-DE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473625" y="2808653"/>
            <a:ext cx="10572750" cy="1631216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az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Double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az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azy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th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ndom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azy.isEvaluate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alse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azy.ge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= 0.123 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ndom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azy.isEvaluate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azy.ge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= 0.123 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che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1437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VAVR: </a:t>
            </a:r>
            <a:r>
              <a:rPr lang="de-DE" dirty="0" err="1"/>
              <a:t>Functions</a:t>
            </a:r>
            <a:r>
              <a:rPr lang="de-DE" dirty="0"/>
              <a:t> - </a:t>
            </a:r>
            <a:r>
              <a:rPr lang="de-DE" dirty="0" err="1"/>
              <a:t>Currying</a:t>
            </a: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29</a:t>
            </a:fld>
            <a:endParaRPr lang="en-US" dirty="0"/>
          </a:p>
        </p:txBody>
      </p:sp>
      <p:sp>
        <p:nvSpPr>
          <p:cNvPr id="9" name="Freeform 8"/>
          <p:cNvSpPr>
            <a:spLocks/>
          </p:cNvSpPr>
          <p:nvPr/>
        </p:nvSpPr>
        <p:spPr bwMode="gray">
          <a:xfrm>
            <a:off x="66675" y="756000"/>
            <a:ext cx="9677399" cy="272062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Allows partial application of a function by converting a function with N arguments to a modified function with N-1 arguments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A function with two arguments f: A1 x A2 → B is converted into a modified function with one argument f ': A1 → (A2 → B)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One or more parameters are set from left to right</a:t>
            </a:r>
            <a:endParaRPr lang="en-US" sz="2400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344962" y="3197614"/>
            <a:ext cx="10486551" cy="1785104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2 &lt;Integ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um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(a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) -&gt; a + b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Parameter a is set to 2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1 &lt;Integ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add2 =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um.curried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pply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add2.apply (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4th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.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EqualTo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6th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6339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Composition of FUNCTION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>
          <a:xfrm>
            <a:off x="10720482" y="5944881"/>
            <a:ext cx="365125" cy="274637"/>
          </a:xfrm>
        </p:spPr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3</a:t>
            </a:fld>
            <a:endParaRPr lang="en-US" dirty="0"/>
          </a:p>
        </p:txBody>
      </p:sp>
      <p:sp>
        <p:nvSpPr>
          <p:cNvPr id="22" name="Rechteck 21"/>
          <p:cNvSpPr/>
          <p:nvPr/>
        </p:nvSpPr>
        <p:spPr>
          <a:xfrm>
            <a:off x="447699" y="784719"/>
            <a:ext cx="10241321" cy="2041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Functions can be chained together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Applying a function to the result of another function creates a new function.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The functions f: X → Y and g: Y → Z can be concatenated to form a function h: g (f (x)) </a:t>
            </a:r>
            <a:br>
              <a:rPr lang="de-DE" dirty="0"/>
            </a:br>
            <a:r>
              <a:rPr lang="de-DE" dirty="0"/>
              <a:t>with h: X → Z.</a:t>
            </a:r>
            <a:r>
              <a:rPr lang="de-DE" sz="2400" dirty="0"/>
              <a:t> </a:t>
            </a:r>
          </a:p>
        </p:txBody>
      </p:sp>
      <p:grpSp>
        <p:nvGrpSpPr>
          <p:cNvPr id="41" name="Gruppieren 40"/>
          <p:cNvGrpSpPr/>
          <p:nvPr/>
        </p:nvGrpSpPr>
        <p:grpSpPr>
          <a:xfrm>
            <a:off x="2071914" y="2988797"/>
            <a:ext cx="5331231" cy="2754835"/>
            <a:chOff x="2071914" y="2988797"/>
            <a:chExt cx="5331231" cy="2754835"/>
          </a:xfrm>
        </p:grpSpPr>
        <p:grpSp>
          <p:nvGrpSpPr>
            <p:cNvPr id="23" name="Gruppieren 22"/>
            <p:cNvGrpSpPr/>
            <p:nvPr/>
          </p:nvGrpSpPr>
          <p:grpSpPr>
            <a:xfrm>
              <a:off x="2071914" y="2988797"/>
              <a:ext cx="5331231" cy="1220781"/>
              <a:chOff x="994472" y="3646139"/>
              <a:chExt cx="5331231" cy="1220781"/>
            </a:xfrm>
          </p:grpSpPr>
          <p:sp>
            <p:nvSpPr>
              <p:cNvPr id="7" name="Rechteck 6"/>
              <p:cNvSpPr/>
              <p:nvPr/>
            </p:nvSpPr>
            <p:spPr>
              <a:xfrm>
                <a:off x="1638059" y="4170280"/>
                <a:ext cx="443368" cy="64633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spAutoFit/>
              </a:bodyPr>
              <a:lstStyle/>
              <a:p>
                <a:pPr algn="ctr" rtl="0"/>
                <a:r>
                  <a:rPr lang="de-DE" sz="3600" b="0" cap="none" spc="0" dirty="0">
                    <a:ln w="0"/>
                    <a:solidFill>
                      <a:schemeClr val="tx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X</a:t>
                </a:r>
              </a:p>
            </p:txBody>
          </p:sp>
          <p:sp>
            <p:nvSpPr>
              <p:cNvPr id="9" name="Textfeld 8"/>
              <p:cNvSpPr txBox="1"/>
              <p:nvPr/>
            </p:nvSpPr>
            <p:spPr>
              <a:xfrm>
                <a:off x="994472" y="3646139"/>
                <a:ext cx="1010900" cy="3380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72000" tIns="36000" rIns="72000" bIns="3600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l" defTabSz="457322" rtl="0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1"/>
                  </a:buClr>
                  <a:buSzPct val="75000"/>
                </a:pPr>
                <a:r>
                  <a:rPr lang="de-DE" sz="1800" dirty="0">
                    <a:ea typeface="Swagger" pitchFamily="2" charset="0"/>
                  </a:rPr>
                  <a:t>Input value</a:t>
                </a:r>
              </a:p>
            </p:txBody>
          </p:sp>
          <p:sp>
            <p:nvSpPr>
              <p:cNvPr id="10" name="Pfeil: nach rechts 9"/>
              <p:cNvSpPr/>
              <p:nvPr/>
            </p:nvSpPr>
            <p:spPr bwMode="gray">
              <a:xfrm>
                <a:off x="2146181" y="4486079"/>
                <a:ext cx="143104" cy="140859"/>
              </a:xfrm>
              <a:prstGeom prst="rightArrow">
                <a:avLst/>
              </a:prstGeom>
              <a:solidFill>
                <a:schemeClr val="bg1"/>
              </a:solidFill>
              <a:ln w="19050" algn="ctr">
                <a:solidFill>
                  <a:schemeClr val="tx2"/>
                </a:solidFill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rtl="0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cxnSp>
            <p:nvCxnSpPr>
              <p:cNvPr id="13" name="Gerade Verbindung mit Pfeil 12"/>
              <p:cNvCxnSpPr/>
              <p:nvPr/>
            </p:nvCxnSpPr>
            <p:spPr>
              <a:xfrm>
                <a:off x="1504236" y="4037223"/>
                <a:ext cx="138137" cy="183366"/>
              </a:xfrm>
              <a:prstGeom prst="straightConnector1">
                <a:avLst/>
              </a:prstGeom>
              <a:ln w="19050">
                <a:solidFill>
                  <a:schemeClr val="tx2"/>
                </a:solidFill>
                <a:miter lim="800000"/>
                <a:headEnd type="none" w="med" len="med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" name="Textfeld 13"/>
              <p:cNvSpPr txBox="1"/>
              <p:nvPr/>
            </p:nvSpPr>
            <p:spPr>
              <a:xfrm>
                <a:off x="2535220" y="3649715"/>
                <a:ext cx="870733" cy="3380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72000" tIns="36000" rIns="72000" bIns="3600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l" defTabSz="457322" rtl="0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1"/>
                  </a:buClr>
                  <a:buSzPct val="75000"/>
                </a:pPr>
                <a:r>
                  <a:rPr lang="de-DE" sz="1800" dirty="0">
                    <a:ea typeface="Swagger" pitchFamily="2" charset="0"/>
                  </a:rPr>
                  <a:t>function</a:t>
                </a:r>
              </a:p>
            </p:txBody>
          </p:sp>
          <p:cxnSp>
            <p:nvCxnSpPr>
              <p:cNvPr id="15" name="Gerade Verbindung mit Pfeil 14"/>
              <p:cNvCxnSpPr>
                <a:stCxn id="14" idx="2"/>
              </p:cNvCxnSpPr>
              <p:nvPr/>
            </p:nvCxnSpPr>
            <p:spPr>
              <a:xfrm flipH="1">
                <a:off x="2970586" y="3987747"/>
                <a:ext cx="1" cy="252849"/>
              </a:xfrm>
              <a:prstGeom prst="straightConnector1">
                <a:avLst/>
              </a:prstGeom>
              <a:ln w="19050">
                <a:solidFill>
                  <a:schemeClr val="tx2"/>
                </a:solidFill>
                <a:miter lim="800000"/>
                <a:headEnd type="none" w="med" len="med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" name="Rechteck 16"/>
              <p:cNvSpPr/>
              <p:nvPr/>
            </p:nvSpPr>
            <p:spPr>
              <a:xfrm>
                <a:off x="3856947" y="4220222"/>
                <a:ext cx="443368" cy="64633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spAutoFit/>
              </a:bodyPr>
              <a:lstStyle/>
              <a:p>
                <a:pPr algn="ctr" rtl="0"/>
                <a:r>
                  <a:rPr lang="de-DE" sz="3600" b="0" cap="none" spc="0" dirty="0">
                    <a:ln w="0"/>
                    <a:solidFill>
                      <a:schemeClr val="tx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Y</a:t>
                </a:r>
              </a:p>
            </p:txBody>
          </p:sp>
          <p:sp>
            <p:nvSpPr>
              <p:cNvPr id="18" name="Rechteck 17"/>
              <p:cNvSpPr/>
              <p:nvPr/>
            </p:nvSpPr>
            <p:spPr>
              <a:xfrm>
                <a:off x="5882335" y="4220589"/>
                <a:ext cx="443368" cy="64633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spAutoFit/>
              </a:bodyPr>
              <a:lstStyle/>
              <a:p>
                <a:pPr algn="ctr" rtl="0"/>
                <a:r>
                  <a:rPr lang="de-DE" sz="3600" b="0" cap="none" spc="0" dirty="0">
                    <a:ln w="0"/>
                    <a:solidFill>
                      <a:schemeClr val="tx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Z</a:t>
                </a:r>
              </a:p>
            </p:txBody>
          </p:sp>
          <p:sp>
            <p:nvSpPr>
              <p:cNvPr id="20" name="Pfeil: nach rechts 19"/>
              <p:cNvSpPr/>
              <p:nvPr/>
            </p:nvSpPr>
            <p:spPr bwMode="gray">
              <a:xfrm>
                <a:off x="4320418" y="4512890"/>
                <a:ext cx="143104" cy="140859"/>
              </a:xfrm>
              <a:prstGeom prst="rightArrow">
                <a:avLst/>
              </a:prstGeom>
              <a:solidFill>
                <a:schemeClr val="bg1"/>
              </a:solidFill>
              <a:ln w="19050" algn="ctr">
                <a:solidFill>
                  <a:schemeClr val="tx2"/>
                </a:solidFill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rtl="0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</p:grpSp>
        <p:sp>
          <p:nvSpPr>
            <p:cNvPr id="25" name="Rechteck 24"/>
            <p:cNvSpPr/>
            <p:nvPr/>
          </p:nvSpPr>
          <p:spPr>
            <a:xfrm>
              <a:off x="3612861" y="5070143"/>
              <a:ext cx="480350" cy="64633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 rtl="0"/>
              <a:r>
                <a:rPr lang="de-DE" sz="3600" b="0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X</a:t>
              </a:r>
            </a:p>
          </p:txBody>
        </p:sp>
        <p:sp>
          <p:nvSpPr>
            <p:cNvPr id="26" name="Pfeil: nach rechts 25"/>
            <p:cNvSpPr/>
            <p:nvPr/>
          </p:nvSpPr>
          <p:spPr bwMode="gray">
            <a:xfrm>
              <a:off x="4163366" y="5385942"/>
              <a:ext cx="155040" cy="140859"/>
            </a:xfrm>
            <a:prstGeom prst="rightArrow">
              <a:avLst/>
            </a:prstGeom>
            <a:solidFill>
              <a:schemeClr val="bg1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rtl="0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sz="1800" dirty="0" err="1">
                <a:cs typeface="Arial" charset="0"/>
              </a:endParaRPr>
            </a:p>
          </p:txBody>
        </p:sp>
        <p:sp>
          <p:nvSpPr>
            <p:cNvPr id="27" name="Rechteck 26"/>
            <p:cNvSpPr/>
            <p:nvPr/>
          </p:nvSpPr>
          <p:spPr>
            <a:xfrm>
              <a:off x="5856888" y="5097301"/>
              <a:ext cx="480350" cy="64633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 rtl="0"/>
              <a:r>
                <a:rPr lang="de-DE" sz="3600" b="0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Z</a:t>
              </a:r>
            </a:p>
          </p:txBody>
        </p:sp>
        <p:sp>
          <p:nvSpPr>
            <p:cNvPr id="29" name="Geschweifte Klammer links 28"/>
            <p:cNvSpPr/>
            <p:nvPr/>
          </p:nvSpPr>
          <p:spPr>
            <a:xfrm rot="16200000">
              <a:off x="4900864" y="2994474"/>
              <a:ext cx="510419" cy="3430372"/>
            </a:xfrm>
            <a:prstGeom prst="leftBrace">
              <a:avLst/>
            </a:prstGeom>
            <a:ln w="19050">
              <a:solidFill>
                <a:schemeClr val="tx2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rtl="0"/>
              <a:endParaRPr lang="de-DE"/>
            </a:p>
          </p:txBody>
        </p:sp>
        <p:sp>
          <p:nvSpPr>
            <p:cNvPr id="31" name="Textfeld 30"/>
            <p:cNvSpPr txBox="1"/>
            <p:nvPr/>
          </p:nvSpPr>
          <p:spPr>
            <a:xfrm>
              <a:off x="4691662" y="4359894"/>
              <a:ext cx="1005578" cy="33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72000" tIns="36000" rIns="72000" bIns="360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l" defTabSz="457322" rtl="0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1"/>
                </a:buClr>
                <a:buSzPct val="75000"/>
              </a:pPr>
              <a:r>
                <a:rPr lang="de-DE" sz="1800" dirty="0" err="1">
                  <a:ea typeface="Swagger" pitchFamily="2" charset="0"/>
                </a:rPr>
                <a:t>andThen</a:t>
              </a:r>
              <a:r>
                <a:rPr lang="de-DE" sz="1800" dirty="0">
                  <a:ea typeface="Swagger" pitchFamily="2" charset="0"/>
                </a:rPr>
                <a:t>()</a:t>
              </a:r>
            </a:p>
          </p:txBody>
        </p:sp>
        <p:sp>
          <p:nvSpPr>
            <p:cNvPr id="33" name="Pfeil: Fünfeck 32"/>
            <p:cNvSpPr/>
            <p:nvPr/>
          </p:nvSpPr>
          <p:spPr bwMode="gray">
            <a:xfrm>
              <a:off x="3563540" y="3685037"/>
              <a:ext cx="1245476" cy="418519"/>
            </a:xfrm>
            <a:prstGeom prst="homePlate">
              <a:avLst/>
            </a:prstGeom>
            <a:solidFill>
              <a:schemeClr val="bg1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rtl="0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de-DE" sz="1800" dirty="0">
                  <a:cs typeface="Arial" charset="0"/>
                </a:rPr>
                <a:t>f (x)</a:t>
              </a:r>
            </a:p>
          </p:txBody>
        </p:sp>
        <p:sp>
          <p:nvSpPr>
            <p:cNvPr id="34" name="Pfeil: Fünfeck 33"/>
            <p:cNvSpPr/>
            <p:nvPr/>
          </p:nvSpPr>
          <p:spPr bwMode="gray">
            <a:xfrm>
              <a:off x="5704487" y="3685037"/>
              <a:ext cx="1245476" cy="418519"/>
            </a:xfrm>
            <a:prstGeom prst="homePlate">
              <a:avLst/>
            </a:prstGeom>
            <a:solidFill>
              <a:schemeClr val="bg1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rtl="0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de-DE" sz="1800" dirty="0">
                  <a:cs typeface="Arial" charset="0"/>
                </a:rPr>
                <a:t>g (x)</a:t>
              </a:r>
            </a:p>
          </p:txBody>
        </p:sp>
        <p:sp>
          <p:nvSpPr>
            <p:cNvPr id="35" name="Pfeil: Fünfeck 34"/>
            <p:cNvSpPr/>
            <p:nvPr/>
          </p:nvSpPr>
          <p:spPr bwMode="gray">
            <a:xfrm>
              <a:off x="4571912" y="5211208"/>
              <a:ext cx="1245476" cy="418519"/>
            </a:xfrm>
            <a:prstGeom prst="homePlate">
              <a:avLst/>
            </a:prstGeom>
            <a:solidFill>
              <a:schemeClr val="bg1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rtl="0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de-DE" sz="1800" dirty="0">
                  <a:cs typeface="Arial" charset="0"/>
                </a:rPr>
                <a:t>g (f (x))</a:t>
              </a:r>
            </a:p>
          </p:txBody>
        </p:sp>
        <p:sp>
          <p:nvSpPr>
            <p:cNvPr id="36" name="Textfeld 35"/>
            <p:cNvSpPr txBox="1"/>
            <p:nvPr/>
          </p:nvSpPr>
          <p:spPr>
            <a:xfrm>
              <a:off x="6296109" y="2988797"/>
              <a:ext cx="885352" cy="33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72000" tIns="36000" rIns="72000" bIns="360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l" defTabSz="457322" rtl="0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1"/>
                </a:buClr>
                <a:buSzPct val="75000"/>
              </a:pPr>
              <a:r>
                <a:rPr lang="de-DE" sz="1800" dirty="0">
                  <a:ea typeface="Swagger" pitchFamily="2" charset="0"/>
                </a:rPr>
                <a:t>Result</a:t>
              </a:r>
            </a:p>
          </p:txBody>
        </p:sp>
        <p:cxnSp>
          <p:nvCxnSpPr>
            <p:cNvPr id="37" name="Gerade Verbindung mit Pfeil 36"/>
            <p:cNvCxnSpPr/>
            <p:nvPr/>
          </p:nvCxnSpPr>
          <p:spPr>
            <a:xfrm>
              <a:off x="6993569" y="3396413"/>
              <a:ext cx="67584" cy="166834"/>
            </a:xfrm>
            <a:prstGeom prst="straightConnector1">
              <a:avLst/>
            </a:prstGeom>
            <a:ln w="19050">
              <a:solidFill>
                <a:schemeClr val="tx2"/>
              </a:solidFill>
              <a:miter lim="800000"/>
              <a:headEnd type="none" w="med" len="med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9944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VAVR: </a:t>
            </a:r>
            <a:r>
              <a:rPr lang="de-DE" dirty="0" err="1"/>
              <a:t>Functions</a:t>
            </a:r>
            <a:r>
              <a:rPr lang="de-DE" dirty="0"/>
              <a:t> - </a:t>
            </a:r>
            <a:r>
              <a:rPr lang="de-DE" dirty="0" err="1"/>
              <a:t>Memoization</a:t>
            </a: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30</a:t>
            </a:fld>
            <a:endParaRPr lang="en-US" dirty="0"/>
          </a:p>
        </p:txBody>
      </p:sp>
      <p:sp>
        <p:nvSpPr>
          <p:cNvPr id="9" name="Freeform 8"/>
          <p:cNvSpPr>
            <a:spLocks/>
          </p:cNvSpPr>
          <p:nvPr/>
        </p:nvSpPr>
        <p:spPr bwMode="gray">
          <a:xfrm>
            <a:off x="66675" y="1029698"/>
            <a:ext cx="9677399" cy="272062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nables that a method is only executed the first time it is called and the saved value is returned on subsequent calls</a:t>
            </a:r>
            <a:endParaRPr lang="en-US" sz="2400" dirty="0"/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228600" y="2127868"/>
            <a:ext cx="10968038" cy="2462213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0 &lt;Double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chedRandom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Function0.</a:t>
            </a:r>
            <a:r>
              <a:rPr kumimoji="0" lang="de-DE" altLang="de-DE" sz="22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th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kumimoji="0" lang="de-DE" altLang="de-DE" sz="22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ndom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moized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ouble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ndomValue1 =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chedRandom.apply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ouble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ndomValue2 =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chedRandom.apply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randomValue1).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EqualTo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randomValue2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8775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VAVR: </a:t>
            </a:r>
            <a:r>
              <a:rPr lang="de-DE" dirty="0" err="1"/>
              <a:t>Functions</a:t>
            </a:r>
            <a:r>
              <a:rPr lang="de-DE" dirty="0"/>
              <a:t> - lifting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31</a:t>
            </a:fld>
            <a:endParaRPr lang="en-US" dirty="0"/>
          </a:p>
        </p:txBody>
      </p:sp>
      <p:sp>
        <p:nvSpPr>
          <p:cNvPr id="9" name="Freeform 8"/>
          <p:cNvSpPr>
            <a:spLocks/>
          </p:cNvSpPr>
          <p:nvPr/>
        </p:nvSpPr>
        <p:spPr bwMode="gray">
          <a:xfrm>
            <a:off x="66675" y="756000"/>
            <a:ext cx="9677399" cy="272062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Allows </a:t>
            </a:r>
            <a:r>
              <a:rPr lang="de-DE" altLang="de-DE" dirty="0"/>
              <a:t>convert a partial function into a total function that returns the data type option. 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A partial function from X to Y is a function f: X '→ Y, where X' is a subset of X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A partial function only works correctly for part of the input values ​​and throws an error if the input is invalid</a:t>
            </a:r>
            <a:endParaRPr lang="de-DE" altLang="de-DE" dirty="0"/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sp>
        <p:nvSpPr>
          <p:cNvPr id="11" name="Rectangle 6"/>
          <p:cNvSpPr>
            <a:spLocks noChangeArrowheads="1"/>
          </p:cNvSpPr>
          <p:nvPr/>
        </p:nvSpPr>
        <p:spPr bwMode="auto">
          <a:xfrm>
            <a:off x="324000" y="3293623"/>
            <a:ext cx="10839449" cy="3016210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2 &lt;Integ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ivid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(a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) -&gt; a / b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2 &lt;Integ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ption &lt;Integer&gt;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afeDivid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2.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f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ivid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ption &lt;Integer&gt; result1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afeDivide.appl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4th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result11).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EqualTo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on.</a:t>
            </a:r>
            <a:r>
              <a:rPr lang="de-DE" altLang="de-DE" sz="20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n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de-DE" altLang="de-DE" sz="4400" dirty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ption &lt;Integer&gt; result2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afeDivide.appl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4th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result2).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EqualTo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on.</a:t>
            </a:r>
            <a:r>
              <a:rPr lang="de-DE" altLang="de-DE" sz="20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m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;</a:t>
            </a:r>
          </a:p>
        </p:txBody>
      </p:sp>
    </p:spTree>
    <p:extLst>
      <p:ext uri="{BB962C8B-B14F-4D97-AF65-F5344CB8AC3E}">
        <p14:creationId xmlns:p14="http://schemas.microsoft.com/office/powerpoint/2010/main" val="1613210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VAVR: PATTERN MATCHING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32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756000"/>
            <a:ext cx="8834438" cy="214912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Pattern </a:t>
            </a:r>
            <a:r>
              <a:rPr lang="de-DE" dirty="0" err="1"/>
              <a:t>Matching</a:t>
            </a:r>
            <a:r>
              <a:rPr lang="de-DE" dirty="0"/>
              <a:t> allows a value to be checked against patterns</a:t>
            </a:r>
          </a:p>
          <a:p>
            <a:pPr marL="342900" indent="-3429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Powerful alternative to </a:t>
            </a:r>
            <a:r>
              <a:rPr lang="de-DE" dirty="0" err="1"/>
              <a:t>Java's</a:t>
            </a:r>
            <a:r>
              <a:rPr lang="de-DE" dirty="0"/>
              <a:t> Switch </a:t>
            </a:r>
            <a:r>
              <a:rPr lang="de-DE" dirty="0" err="1"/>
              <a:t>statement</a:t>
            </a:r>
            <a:endParaRPr lang="de-DE" dirty="0"/>
          </a:p>
          <a:p>
            <a:pPr marL="918972" lvl="1" indent="-3429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dirty="0"/>
              <a:t>$ () - wildcard </a:t>
            </a:r>
            <a:r>
              <a:rPr lang="de-DE" altLang="de-DE" dirty="0" err="1"/>
              <a:t>pattern</a:t>
            </a:r>
            <a:endParaRPr lang="de-DE" altLang="de-DE" dirty="0"/>
          </a:p>
          <a:p>
            <a:pPr marL="918972" lvl="1" indent="-3429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dirty="0"/>
              <a:t>$ (</a:t>
            </a:r>
            <a:r>
              <a:rPr lang="de-DE" altLang="de-DE" dirty="0" err="1"/>
              <a:t>value</a:t>
            </a:r>
            <a:r>
              <a:rPr lang="de-DE" altLang="de-DE" dirty="0"/>
              <a:t>) - </a:t>
            </a:r>
            <a:r>
              <a:rPr lang="de-DE" altLang="de-DE" dirty="0" err="1"/>
              <a:t>Equals</a:t>
            </a:r>
            <a:r>
              <a:rPr lang="de-DE" altLang="de-DE" dirty="0"/>
              <a:t> </a:t>
            </a:r>
            <a:r>
              <a:rPr lang="de-DE" altLang="de-DE" dirty="0" err="1"/>
              <a:t>pattern</a:t>
            </a:r>
            <a:endParaRPr lang="de-DE" altLang="de-DE" dirty="0"/>
          </a:p>
          <a:p>
            <a:pPr marL="918972" lvl="1" indent="-3429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dirty="0"/>
              <a:t>$ (</a:t>
            </a:r>
            <a:r>
              <a:rPr lang="de-DE" altLang="de-DE" dirty="0" err="1"/>
              <a:t>predicate</a:t>
            </a:r>
            <a:r>
              <a:rPr lang="de-DE" altLang="de-DE" dirty="0"/>
              <a:t>) - </a:t>
            </a:r>
            <a:r>
              <a:rPr lang="de-DE" altLang="de-DE" dirty="0" err="1"/>
              <a:t>Conditional</a:t>
            </a:r>
            <a:r>
              <a:rPr lang="de-DE" altLang="de-DE" dirty="0"/>
              <a:t> </a:t>
            </a:r>
            <a:r>
              <a:rPr lang="de-DE" altLang="de-DE" dirty="0" err="1"/>
              <a:t>pattern</a:t>
            </a:r>
            <a:endParaRPr lang="de-DE" altLang="de-DE" dirty="0"/>
          </a:p>
        </p:txBody>
      </p:sp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422275" y="2916465"/>
            <a:ext cx="10287000" cy="2862322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ublic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atternMatching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Integer i) {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tch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i)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1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I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2 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3 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ny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4th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one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5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6th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)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4 or neither (5 or 6)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</a:p>
          <a:p>
            <a:pPr lvl="0"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Case ($ (</a:t>
            </a:r>
            <a:r>
              <a:rPr lang="de-DE" altLang="de-DE" sz="20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tanceOf</a:t>
            </a:r>
            <a:r>
              <a:rPr lang="de-DE" altLang="de-DE" sz="20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.class</a:t>
            </a:r>
            <a:r>
              <a:rPr lang="de-DE" altLang="de-DE" sz="20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, 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Is a number"</a:t>
            </a:r>
            <a:r>
              <a:rPr lang="de-DE" altLang="de-DE" sz="20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?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9061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VAVR: PATTERN MATCHING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33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752583"/>
            <a:ext cx="8834438" cy="412328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VAVR makes that possible </a:t>
            </a:r>
            <a:r>
              <a:rPr lang="de-DE" dirty="0" err="1"/>
              <a:t>destructuring</a:t>
            </a:r>
            <a:r>
              <a:rPr lang="de-DE" dirty="0"/>
              <a:t> of objects </a:t>
            </a:r>
          </a:p>
          <a:p>
            <a:pPr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endParaRPr lang="de-DE" altLang="de-DE" dirty="0"/>
          </a:p>
        </p:txBody>
      </p:sp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178547" y="1305785"/>
            <a:ext cx="11018091" cy="3139321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 (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ack0r"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Id01"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altLang="de-DE" sz="2200" dirty="0">
              <a:solidFill>
                <a:srgbClr val="CC783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ation &lt;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ationError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ing&gt; </a:t>
            </a:r>
            <a:r>
              <a:rPr lang="de-DE" altLang="de-DE" sz="2200" dirty="0" err="1">
                <a:solidFill>
                  <a:srgbClr val="FFC66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ateUser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User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  <a:b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! = 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ero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&amp;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.getName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quals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ack0r"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 {	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ation.</a:t>
            </a:r>
            <a:r>
              <a:rPr lang="de-DE" altLang="de-DE" sz="22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valid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validNameError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.getId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b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ation.</a:t>
            </a:r>
            <a:r>
              <a:rPr lang="de-DE" altLang="de-DE" sz="22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.getId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de-DE" altLang="de-DE" sz="2200" dirty="0">
              <a:solidFill>
                <a:srgbClr val="CC783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3" name="Rectangle 1"/>
          <p:cNvSpPr>
            <a:spLocks noChangeArrowheads="1"/>
          </p:cNvSpPr>
          <p:nvPr/>
        </p:nvSpPr>
        <p:spPr bwMode="auto">
          <a:xfrm>
            <a:off x="177909" y="4854017"/>
            <a:ext cx="11018091" cy="1446550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ation &lt;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ationError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ing&gt;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22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tch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b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Case ($ User (</a:t>
            </a:r>
            <a:r>
              <a:rPr lang="de-DE" altLang="de-DE" sz="22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ack0r"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rname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-&gt; </a:t>
            </a:r>
          </a:p>
          <a:p>
            <a:pPr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ation.</a:t>
            </a:r>
            <a:r>
              <a:rPr lang="de-DE" altLang="de-DE" sz="22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valid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validNameError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ation.</a:t>
            </a:r>
            <a:r>
              <a:rPr lang="de-DE" altLang="de-DE" sz="22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B389C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getId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)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3873686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VAVR: PATTERN MATCHING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34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752583"/>
            <a:ext cx="8834438" cy="412328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Annotation processor around </a:t>
            </a:r>
            <a:r>
              <a:rPr lang="de-DE" dirty="0" err="1"/>
              <a:t>Destructor</a:t>
            </a:r>
            <a:r>
              <a:rPr lang="de-DE" dirty="0"/>
              <a:t> to generate</a:t>
            </a:r>
          </a:p>
          <a:p>
            <a:pPr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endParaRPr lang="de-DE" altLang="de-DE" dirty="0"/>
          </a:p>
        </p:txBody>
      </p:sp>
      <p:sp>
        <p:nvSpPr>
          <p:cNvPr id="9" name="Rectangle 4"/>
          <p:cNvSpPr>
            <a:spLocks noChangeArrowheads="1"/>
          </p:cNvSpPr>
          <p:nvPr/>
        </p:nvSpPr>
        <p:spPr bwMode="auto">
          <a:xfrm>
            <a:off x="504496" y="2102576"/>
            <a:ext cx="10139314" cy="3046988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BBB52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@Patterns</a:t>
            </a: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BBB52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ublic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rface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tructor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{</a:t>
            </a: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BBB52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BBB52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napply</a:t>
            </a: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BBB52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BBB52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atic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uple2 &lt;String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&gt;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User 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uple.</a:t>
            </a:r>
            <a:r>
              <a:rPr kumimoji="0" lang="de-DE" altLang="de-DE" sz="24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.getName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.getId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5276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What is Resilience4j?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35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959965"/>
            <a:ext cx="8834438" cy="4889041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A lightweight fault tolerance library powered by the </a:t>
            </a:r>
            <a:r>
              <a:rPr lang="de-DE" dirty="0" err="1"/>
              <a:t>Netflix</a:t>
            </a:r>
            <a:r>
              <a:rPr lang="de-DE" dirty="0"/>
              <a:t> </a:t>
            </a:r>
            <a:r>
              <a:rPr lang="de-DE" dirty="0" err="1"/>
              <a:t>Hystrix</a:t>
            </a:r>
            <a:r>
              <a:rPr lang="de-DE" dirty="0"/>
              <a:t> was inspired, but is specifically designed for functional programming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Provides higher-order functions with which functional interfaces, lambda expressions and method references can be extended by functionality</a:t>
            </a:r>
            <a:endParaRPr lang="de-DE" sz="2400" dirty="0"/>
          </a:p>
          <a:p>
            <a:pPr marL="792072" lvl="1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CircuitBreaker</a:t>
            </a:r>
            <a:r>
              <a:rPr lang="de-DE" sz="2400" dirty="0"/>
              <a:t>: Protects functions with a "fuse"</a:t>
            </a:r>
          </a:p>
          <a:p>
            <a:pPr marL="792072" lvl="1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RateLimiter</a:t>
            </a:r>
            <a:r>
              <a:rPr lang="de-DE" sz="2400" dirty="0"/>
              <a:t>: Limits the </a:t>
            </a:r>
            <a:r>
              <a:rPr lang="de-DE" dirty="0"/>
              <a:t>Function call rate </a:t>
            </a:r>
            <a:endParaRPr lang="de-DE" sz="2400" dirty="0"/>
          </a:p>
          <a:p>
            <a:pPr marL="792072" lvl="1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Retry</a:t>
            </a:r>
            <a:r>
              <a:rPr lang="de-DE" sz="2400" dirty="0"/>
              <a:t>: Repeated </a:t>
            </a:r>
            <a:r>
              <a:rPr lang="de-DE" dirty="0"/>
              <a:t>failed function calls automatically</a:t>
            </a:r>
          </a:p>
          <a:p>
            <a:pPr marL="792072" lvl="1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BulkHead</a:t>
            </a:r>
            <a:r>
              <a:rPr lang="de-DE" sz="2400" dirty="0"/>
              <a:t>: Limits the number of simultaneous function calls</a:t>
            </a:r>
          </a:p>
          <a:p>
            <a:pPr marL="792072" lvl="1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Cache: Stores function results in a </a:t>
            </a:r>
            <a:r>
              <a:rPr lang="de-DE" sz="2400" dirty="0" err="1"/>
              <a:t>JCache</a:t>
            </a:r>
            <a:r>
              <a:rPr lang="de-DE" sz="2400" dirty="0"/>
              <a:t> Provider</a:t>
            </a:r>
          </a:p>
          <a:p>
            <a:pPr marL="792072" lvl="1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timer</a:t>
            </a:r>
            <a:r>
              <a:rPr lang="de-DE" sz="2400" dirty="0"/>
              <a:t>: Measures metrics of function calls</a:t>
            </a:r>
          </a:p>
          <a:p>
            <a:pPr marL="792072" lvl="1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TimeLimiter</a:t>
            </a:r>
            <a:r>
              <a:rPr lang="de-DE" sz="2400" dirty="0"/>
              <a:t>: Limits the runtime of functions</a:t>
            </a:r>
          </a:p>
          <a:p>
            <a:pPr lvl="1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endParaRPr lang="en-US" sz="2400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99525" y="3937093"/>
            <a:ext cx="2114550" cy="2162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089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Resilience4j: CIRCUITBREAKER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>
          <a:xfrm>
            <a:off x="10932119" y="6407459"/>
            <a:ext cx="365125" cy="274637"/>
          </a:xfrm>
        </p:spPr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36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9599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2632" y="959966"/>
            <a:ext cx="1699048" cy="1699048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77665" y="2751293"/>
            <a:ext cx="5257206" cy="2023901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238126" y="870101"/>
            <a:ext cx="5759450" cy="3965829"/>
          </a:xfrm>
          <a:prstGeom prst="rect">
            <a:avLst/>
          </a:prstGeom>
        </p:spPr>
        <p:txBody>
          <a:bodyPr>
            <a:spAutoFit/>
          </a:bodyPr>
          <a:lstStyle/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A state machine with three states: CLOSED, OPEN, HALF_OPEN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Configurable threshold value for the error rate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Allows a configurable number of test calls in the HALF_OPEN state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Saves the status of function calls in a two-bit ring </a:t>
            </a:r>
            <a:r>
              <a:rPr lang="de-DE" dirty="0" err="1"/>
              <a:t>Buffer</a:t>
            </a:r>
            <a:endParaRPr lang="de-DE" dirty="0"/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Array with 16 </a:t>
            </a:r>
            <a:r>
              <a:rPr lang="de-DE" dirty="0" err="1"/>
              <a:t>long</a:t>
            </a:r>
            <a:r>
              <a:rPr lang="de-DE" dirty="0"/>
              <a:t> (64-bit) values ​​can save the status of 1024 calls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No rolling time window</a:t>
            </a: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31680" y="4835930"/>
            <a:ext cx="1040884" cy="1040884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6558171" y="454669"/>
            <a:ext cx="1233396" cy="338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defTabSz="457322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1800" dirty="0">
                <a:ea typeface="Swagger" pitchFamily="2" charset="0"/>
              </a:rPr>
              <a:t>1000 views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8031680" y="5937550"/>
            <a:ext cx="1049848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defTabSz="457322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1800" dirty="0">
                <a:ea typeface="Swagger" pitchFamily="2" charset="0"/>
              </a:rPr>
              <a:t>10 views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8476836" y="2362275"/>
            <a:ext cx="3045239" cy="296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defTabSz="457322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altLang="de-DE" sz="14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ircuitBreakerOpenException</a:t>
            </a:r>
            <a:endParaRPr lang="de-DE" sz="1400" b="1" dirty="0">
              <a:latin typeface="Courier New" panose="02070309020205020404" pitchFamily="49" charset="0"/>
              <a:ea typeface="Swagger" pitchFamily="2" charset="0"/>
              <a:cs typeface="Courier New" panose="02070309020205020404" pitchFamily="49" charset="0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6677501" y="1890510"/>
            <a:ext cx="1013786" cy="249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defTabSz="457322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1200" b="1" dirty="0">
                <a:ea typeface="Swagger" pitchFamily="2" charset="0"/>
              </a:rPr>
              <a:t>Error rate 50%</a:t>
            </a:r>
          </a:p>
        </p:txBody>
      </p:sp>
    </p:spTree>
    <p:extLst>
      <p:ext uri="{BB962C8B-B14F-4D97-AF65-F5344CB8AC3E}">
        <p14:creationId xmlns:p14="http://schemas.microsoft.com/office/powerpoint/2010/main" val="1838230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Resilience4j: CIRCUITBREAKER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37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9599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197325" y="730693"/>
            <a:ext cx="11125349" cy="5647700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Config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Config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Config.</a:t>
            </a:r>
            <a:r>
              <a:rPr lang="de-DE" altLang="de-DE" sz="19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ustom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b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ilureRateThreshold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9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0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aitDurationInOpenState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uration.</a:t>
            </a:r>
            <a:r>
              <a:rPr lang="de-DE" altLang="de-DE" sz="19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Seconds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9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b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cordFailure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lang="de-DE" altLang="de-DE" sz="19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tch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b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9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9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9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tanceOf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Exception.</a:t>
            </a:r>
            <a:r>
              <a:rPr lang="de-DE" altLang="de-DE" sz="19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19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9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9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9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tanceOf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ebApplicationException.</a:t>
            </a:r>
            <a:r>
              <a:rPr lang="de-DE" altLang="de-DE" sz="19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 -&gt; 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.getResponse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Status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 == </a:t>
            </a:r>
            <a:r>
              <a:rPr lang="de-DE" altLang="de-DE" sz="1900" i="1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ERNAL_SERVER_ERROR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9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9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19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lse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)</a:t>
            </a:r>
            <a:b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ild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de-DE" altLang="de-DE" sz="1900" dirty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ackendNam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Confi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String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Suppli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Robert"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kumimoji="0" lang="de-DE" altLang="de-DE" sz="1900" b="0" i="0" u="none" strike="noStrike" cap="none" normalizeH="0" baseline="0" dirty="0">
              <a:ln>
                <a:noFill/>
              </a:ln>
              <a:solidFill>
                <a:srgbClr val="CC7832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Suppli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getOrEls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I have to go!"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1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7601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Resilience4j: FUNCTION OF HIGHER ORDER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38</a:t>
            </a:fld>
            <a:endParaRPr lang="en-US" dirty="0"/>
          </a:p>
        </p:txBody>
      </p:sp>
      <p:sp>
        <p:nvSpPr>
          <p:cNvPr id="8" name="Rechteck 7"/>
          <p:cNvSpPr/>
          <p:nvPr/>
        </p:nvSpPr>
        <p:spPr>
          <a:xfrm>
            <a:off x="238125" y="870101"/>
            <a:ext cx="9791699" cy="431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dirty="0"/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324000" y="874228"/>
            <a:ext cx="10436380" cy="4832092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atic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507874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507874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507874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{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Utils.</a:t>
            </a:r>
            <a:r>
              <a:rPr kumimoji="0" lang="de-DE" altLang="de-DE" sz="22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CallPermitted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507874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Value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call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onSuccess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Value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tch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onErro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}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3193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Resilience4j: CIRCUITBREAKER METRIC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39</a:t>
            </a:fld>
            <a:endParaRPr lang="en-US" dirty="0"/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175887" y="1921316"/>
            <a:ext cx="11168226" cy="4401205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Registr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gistr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Registry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Default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cb1 =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gistry.circuitBreak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Name1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cb2 =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gistry.circuitBreaker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Name2"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.Metric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cb1.getMetrics 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loa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ailureRat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FailureRat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fferedCall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NumberOfBufferedCall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ailedCall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NumberOfFailedCall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uccessfulCall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NumberOfSuccessfulCall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ng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otPermittedCall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NumberOfNotPermittedCall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gisterAll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Metrics.</a:t>
            </a:r>
            <a:r>
              <a:rPr lang="de-DE" altLang="de-DE" sz="20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CircuitBreakerRegistry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gistry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238126" y="870102"/>
            <a:ext cx="11077574" cy="8670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Measures metrics for monitoring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Metrics can be created using </a:t>
            </a:r>
            <a:r>
              <a:rPr lang="de-DE" dirty="0" err="1"/>
              <a:t>Dropwizard</a:t>
            </a:r>
            <a:r>
              <a:rPr lang="de-DE" dirty="0"/>
              <a:t> </a:t>
            </a:r>
            <a:r>
              <a:rPr lang="de-DE" dirty="0" err="1"/>
              <a:t>Metrics</a:t>
            </a:r>
            <a:r>
              <a:rPr lang="de-DE" dirty="0"/>
              <a:t> or Prometheus</a:t>
            </a:r>
          </a:p>
        </p:txBody>
      </p:sp>
    </p:spTree>
    <p:extLst>
      <p:ext uri="{BB962C8B-B14F-4D97-AF65-F5344CB8AC3E}">
        <p14:creationId xmlns:p14="http://schemas.microsoft.com/office/powerpoint/2010/main" val="910344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Composition of FUNCTION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4</a:t>
            </a:fld>
            <a:endParaRPr lang="en-US" dirty="0"/>
          </a:p>
        </p:txBody>
      </p:sp>
      <p:sp>
        <p:nvSpPr>
          <p:cNvPr id="11" name="Rectangle 2"/>
          <p:cNvSpPr>
            <a:spLocks noChangeArrowheads="1"/>
          </p:cNvSpPr>
          <p:nvPr/>
        </p:nvSpPr>
        <p:spPr bwMode="auto">
          <a:xfrm>
            <a:off x="324000" y="921803"/>
            <a:ext cx="10872000" cy="3046988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1 &lt;Integer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lusOne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a -&gt; a +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1 &lt;Integer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ultiplyByTwo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a -&gt; a *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1 &lt;Integer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plusOneAndMultiplyBy2 = 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lusOne.andThen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ultiplyByTwo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4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plusOneAndMultiplyBy2.apply (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EqualTo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6th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4487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Resilience4j: CIRCUITBREAKER EVENT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40</a:t>
            </a:fld>
            <a:endParaRPr lang="en-US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26123" y="713691"/>
            <a:ext cx="11248697" cy="5062924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event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aler</a:t>
            </a:r>
            <a:endParaRPr kumimoji="0" lang="de-DE" altLang="de-DE" sz="1900" b="0" i="0" u="none" strike="noStrike" cap="none" normalizeH="0" baseline="0" dirty="0">
              <a:ln>
                <a:noFill/>
              </a:ln>
              <a:solidFill>
                <a:srgbClr val="CC7832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.getEventPublish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nSucces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G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debu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...)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nErro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G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warn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...)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nStateTransition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info(…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activ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eam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xJava2Adapter.</a:t>
            </a:r>
            <a:r>
              <a:rPr kumimoji="0" lang="de-DE" altLang="de-DE" sz="19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oFlow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.getEventPublish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ilt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.getEventTyp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=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ype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RRO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st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OnErrorEvent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ubscrib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G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warn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...)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de-DE" sz="1900" b="0" i="0" u="none" strike="noStrike" cap="none" normalizeH="0" baseline="0" dirty="0">
              <a:ln>
                <a:noFill/>
              </a:ln>
              <a:solidFill>
                <a:srgbClr val="CC7832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</a:t>
            </a:r>
            <a:r>
              <a:rPr lang="de-DE" altLang="de-DE" sz="19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lar</a:t>
            </a: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9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ffer</a:t>
            </a:r>
            <a:endParaRPr kumimoji="0" lang="de-DE" altLang="de-DE" sz="1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larEventConsumer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Event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ingBuffer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9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larEventConsumer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&gt; (</a:t>
            </a:r>
            <a:r>
              <a:rPr lang="de-DE" altLang="de-DE" sz="19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.getEventPublisher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Event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ingBuffer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 &lt;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Event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fferedEvents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ingBuffer.getBufferedEvents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1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4757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Resilience4j: CIRCUITBREAKER RXjava2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41</a:t>
            </a:fld>
            <a:endParaRPr lang="en-US" dirty="0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324000" y="3108884"/>
            <a:ext cx="10507513" cy="1631216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ublic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bservable &lt;String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hodWhichRetur</a:t>
            </a:r>
            <a:r>
              <a:rPr lang="de-DE" altLang="de-DE" sz="2000" dirty="0" err="1">
                <a:solidFill>
                  <a:srgbClr val="FFC66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sAnObservabl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{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.methodWhichReturnsAnObservabl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-ou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Unit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COND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f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 operator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Freeform 8"/>
          <p:cNvSpPr>
            <a:spLocks/>
          </p:cNvSpPr>
          <p:nvPr/>
        </p:nvSpPr>
        <p:spPr bwMode="gray">
          <a:xfrm>
            <a:off x="238126" y="879826"/>
            <a:ext cx="9610724" cy="482250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There are RxJava2 operators for observables, </a:t>
            </a:r>
            <a:r>
              <a:rPr lang="de-DE" dirty="0" err="1"/>
              <a:t>Flowable</a:t>
            </a:r>
            <a:r>
              <a:rPr lang="de-DE" dirty="0"/>
              <a:t> and single</a:t>
            </a:r>
          </a:p>
          <a:p>
            <a:pPr marL="918972" lvl="1" indent="-3429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 err="1"/>
              <a:t>CircuitBreaker</a:t>
            </a:r>
            <a:endParaRPr lang="de-DE" dirty="0"/>
          </a:p>
          <a:p>
            <a:pPr marL="918972" lvl="1" indent="-3429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 err="1"/>
              <a:t>RateLimiter</a:t>
            </a:r>
            <a:endParaRPr lang="de-DE" dirty="0"/>
          </a:p>
          <a:p>
            <a:pPr marL="918972" lvl="1" indent="-3429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 err="1"/>
              <a:t>Retry</a:t>
            </a:r>
            <a:endParaRPr lang="de-DE" dirty="0"/>
          </a:p>
          <a:p>
            <a:pPr marL="342900" indent="-3429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000396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Resilience4j: RETRY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42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1086090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238126" y="1498511"/>
            <a:ext cx="11097281" cy="4770537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Confi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fi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Config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ustom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xAttempt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waitDuration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uration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Milli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00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</a:p>
          <a:p>
            <a:pPr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ervalFunction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ervalFunction.</a:t>
            </a:r>
            <a:r>
              <a:rPr lang="de-DE" altLang="de-DE" sz="19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ExponentialBackoff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OnException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PI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tch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stanceOf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OException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als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ild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ackendNam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fi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String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Robert"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getOrEls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I have to go!"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1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238126" y="741298"/>
            <a:ext cx="9004068" cy="4124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000" dirty="0"/>
              <a:t>Repeats failed calls and exponentially increases the waiting time between call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71430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Resilience4j: </a:t>
            </a:r>
            <a:r>
              <a:rPr lang="de-DE" dirty="0" err="1"/>
              <a:t>Rate limiter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>
          <a:xfrm>
            <a:off x="10932119" y="6407459"/>
            <a:ext cx="365125" cy="274637"/>
          </a:xfrm>
        </p:spPr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43</a:t>
            </a:fld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8750" y="2067346"/>
            <a:ext cx="7810499" cy="4126793"/>
          </a:xfrm>
          <a:prstGeom prst="rect">
            <a:avLst/>
          </a:prstGeom>
        </p:spPr>
      </p:pic>
      <p:sp>
        <p:nvSpPr>
          <p:cNvPr id="14" name="Rechteck 13"/>
          <p:cNvSpPr/>
          <p:nvPr/>
        </p:nvSpPr>
        <p:spPr>
          <a:xfrm>
            <a:off x="238125" y="766881"/>
            <a:ext cx="10191750" cy="12895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Limits the </a:t>
            </a:r>
            <a:r>
              <a:rPr lang="de-DE" dirty="0"/>
              <a:t>Function call rate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The time is divided into cycles. Each cycle has a configurable duration.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ach cycle allows a configurable number of function calls</a:t>
            </a:r>
          </a:p>
        </p:txBody>
      </p:sp>
    </p:spTree>
    <p:extLst>
      <p:ext uri="{BB962C8B-B14F-4D97-AF65-F5344CB8AC3E}">
        <p14:creationId xmlns:p14="http://schemas.microsoft.com/office/powerpoint/2010/main" val="1842570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Resilience4j: </a:t>
            </a:r>
            <a:r>
              <a:rPr lang="de-DE" dirty="0" err="1"/>
              <a:t>Rate limiter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44</a:t>
            </a:fld>
            <a:endParaRPr lang="en-US" dirty="0"/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298451" y="1575674"/>
            <a:ext cx="10997542" cy="4770537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teLimiterConfi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fi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teLimiterConfig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ustom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outDuration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uration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Milli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00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mitRefreshPeriod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uration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Second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mitForPeriod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ild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teLimit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teLimit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teLimiter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ackendNam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fi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String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teLimiter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teLimit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Robert"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 &lt;String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irstTry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irstTry.isSucces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Tru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 &lt;String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condTry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condTry.isFailur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Tru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condTry.getCaus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InstanceOf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questNotPermitted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1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324000" y="756000"/>
            <a:ext cx="4674036" cy="47641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Allows 1 function call per secon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78782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Resilience4j: BULKHEAD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45</a:t>
            </a:fld>
            <a:endParaRPr lang="en-US" dirty="0"/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237487" y="1795474"/>
            <a:ext cx="10958513" cy="3893374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Confi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fi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Config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ustom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xWaitTim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000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xConcurrentCall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ild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bar"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fi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String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Robert"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 &lt;String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irstTry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 &lt;String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condTry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condTry.getCaus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InstanceOf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FullException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38125" y="758999"/>
            <a:ext cx="10191750" cy="8670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Limits the number of simultaneous function calls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Allows function calls to either wait or abort with an error</a:t>
            </a:r>
          </a:p>
        </p:txBody>
      </p:sp>
    </p:spTree>
    <p:extLst>
      <p:ext uri="{BB962C8B-B14F-4D97-AF65-F5344CB8AC3E}">
        <p14:creationId xmlns:p14="http://schemas.microsoft.com/office/powerpoint/2010/main" val="2538344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Resilience4j: TIMER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46</a:t>
            </a:fld>
            <a:endParaRPr lang="en-US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238124" y="2727132"/>
            <a:ext cx="11026337" cy="3600986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r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MetricRegistry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baking"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String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r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Robert"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r.Metric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r.getMetric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n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otalCall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NumberOfTotalCall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n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uccessfulCall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NumberOfSuccessfulCall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n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ailedCall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NumberOfFailedCall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ouble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anRat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MeanRat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ouble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sponseTimePercenti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Snapshot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.get95thPercentile (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1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238125" y="758999"/>
            <a:ext cx="10191750" cy="16802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Integration with </a:t>
            </a:r>
            <a:r>
              <a:rPr lang="de-DE" dirty="0" err="1"/>
              <a:t>Dropwizard</a:t>
            </a:r>
            <a:r>
              <a:rPr lang="de-DE" dirty="0"/>
              <a:t> </a:t>
            </a:r>
            <a:r>
              <a:rPr lang="de-DE" dirty="0" err="1"/>
              <a:t>Metrics</a:t>
            </a:r>
            <a:endParaRPr lang="de-DE" dirty="0"/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Measures metrics like </a:t>
            </a:r>
          </a:p>
          <a:p>
            <a:pPr marL="792072" lvl="1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Number of successful and failed calls</a:t>
            </a:r>
          </a:p>
          <a:p>
            <a:pPr marL="792072" lvl="1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Response time and call rate</a:t>
            </a:r>
          </a:p>
        </p:txBody>
      </p:sp>
    </p:spTree>
    <p:extLst>
      <p:ext uri="{BB962C8B-B14F-4D97-AF65-F5344CB8AC3E}">
        <p14:creationId xmlns:p14="http://schemas.microsoft.com/office/powerpoint/2010/main" val="921071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Resilience4j: Cache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47</a:t>
            </a:fld>
            <a:endParaRPr lang="en-US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238124" y="2788284"/>
            <a:ext cx="11026337" cy="2800767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avax.cache.Cache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String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ing&gt; </a:t>
            </a:r>
            <a:r>
              <a:rPr lang="de-DE" altLang="de-DE" sz="22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cheInstance</a:t>
            </a:r>
            <a:r>
              <a:rPr lang="de-DE" altLang="de-DE" sz="22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ching.getCache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2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cheName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ing.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ing.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che &lt;string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ing&gt; </a:t>
            </a:r>
            <a:r>
              <a:rPr lang="de-DE" altLang="de-DE" sz="22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cheContext</a:t>
            </a:r>
            <a:r>
              <a:rPr lang="de-DE" altLang="de-DE" sz="22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che.of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cheInstance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lang="de-DE" altLang="de-DE" sz="2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String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ing&gt; </a:t>
            </a:r>
            <a:r>
              <a:rPr lang="de-DE" altLang="de-DE" sz="22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chedFunction</a:t>
            </a:r>
            <a:r>
              <a:rPr lang="de-DE" altLang="de-DE" sz="22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che.decorateCallable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cheContext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pPr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lang="de-DE" altLang="de-DE" sz="2200" dirty="0" err="1">
                <a:solidFill>
                  <a:srgbClr val="B389C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obert"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lang="de-DE" altLang="de-DE" sz="22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lang="de-DE" altLang="de-DE" sz="22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de-DE" altLang="de-DE" sz="22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chedFunction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apply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2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estKey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de-DE" altLang="de-DE" sz="2200" dirty="0">
              <a:latin typeface="Arial" panose="020B0604020202020204" pitchFamily="34" charset="0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238125" y="758999"/>
            <a:ext cx="10191750" cy="16802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Uses </a:t>
            </a:r>
            <a:r>
              <a:rPr lang="de-DE" dirty="0" err="1"/>
              <a:t>JCache</a:t>
            </a:r>
            <a:endParaRPr lang="de-DE" dirty="0"/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Measures metrics like </a:t>
            </a:r>
          </a:p>
          <a:p>
            <a:pPr marL="792072" lvl="1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Number of cache </a:t>
            </a:r>
            <a:r>
              <a:rPr lang="de-DE" dirty="0" err="1"/>
              <a:t>hits</a:t>
            </a:r>
            <a:endParaRPr lang="de-DE" dirty="0"/>
          </a:p>
          <a:p>
            <a:pPr marL="792072" lvl="1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Number of cache </a:t>
            </a:r>
            <a:r>
              <a:rPr lang="de-DE" dirty="0" err="1"/>
              <a:t>miss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5623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Resilience4j: Spring Boot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48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9599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Spring Boot Starter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Configuration using Spring Boot </a:t>
            </a:r>
            <a:r>
              <a:rPr lang="de-DE" dirty="0" err="1"/>
              <a:t>Config</a:t>
            </a:r>
            <a:r>
              <a:rPr lang="de-DE" dirty="0"/>
              <a:t>-File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Annotations for </a:t>
            </a:r>
            <a:r>
              <a:rPr lang="de-DE" dirty="0" err="1"/>
              <a:t>CircuitBreaker</a:t>
            </a:r>
            <a:r>
              <a:rPr lang="de-DE" dirty="0"/>
              <a:t> and </a:t>
            </a:r>
            <a:r>
              <a:rPr lang="de-DE" dirty="0" err="1"/>
              <a:t>RateLimiter</a:t>
            </a:r>
            <a:endParaRPr lang="de-DE" dirty="0"/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New </a:t>
            </a:r>
            <a:r>
              <a:rPr lang="de-DE" sz="2400" dirty="0" err="1"/>
              <a:t>HealthIndicator</a:t>
            </a:r>
            <a:r>
              <a:rPr lang="de-DE" sz="2400" dirty="0"/>
              <a:t> For </a:t>
            </a:r>
            <a:r>
              <a:rPr lang="de-DE" sz="2400" dirty="0" err="1"/>
              <a:t>CircuitBreaker</a:t>
            </a:r>
            <a:r>
              <a:rPr lang="de-DE" sz="2400" dirty="0"/>
              <a:t> and </a:t>
            </a:r>
            <a:r>
              <a:rPr lang="de-DE" sz="2400" dirty="0" err="1"/>
              <a:t>RateLimiter</a:t>
            </a:r>
            <a:endParaRPr lang="de-DE" sz="2400" dirty="0"/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Events are about a new </a:t>
            </a:r>
            <a:r>
              <a:rPr lang="de-DE" sz="2400" dirty="0" err="1"/>
              <a:t>Actuator</a:t>
            </a:r>
            <a:r>
              <a:rPr lang="de-DE" sz="2400" dirty="0"/>
              <a:t> Endpoints published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Metrics are handled by the </a:t>
            </a:r>
            <a:r>
              <a:rPr lang="de-DE" sz="2400" dirty="0" err="1"/>
              <a:t>Actuator</a:t>
            </a:r>
            <a:r>
              <a:rPr lang="de-DE" sz="2400" dirty="0"/>
              <a:t> </a:t>
            </a:r>
            <a:r>
              <a:rPr lang="de-DE" sz="2400" dirty="0" err="1"/>
              <a:t>Metrics</a:t>
            </a:r>
            <a:r>
              <a:rPr lang="de-DE" sz="2400" dirty="0"/>
              <a:t> released</a:t>
            </a:r>
            <a:endParaRPr lang="en-US" sz="2400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365126" y="3890486"/>
            <a:ext cx="10560050" cy="1477328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@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backend =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ackendA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@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mponen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ackendAConnecto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ublic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ackendAConnecto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mplement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nector {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...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}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9827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Resilience4j: Spring Boot - CONFIGURATIO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49</a:t>
            </a:fld>
            <a:endParaRPr lang="en-US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306390" y="1108411"/>
            <a:ext cx="10907219" cy="3539430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ilience4j.circuitbreaker:</a:t>
            </a:r>
            <a:b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ckends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b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ckendA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b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ingBufferSizeInClosedState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ingBufferSizeInHalfOpenState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aitInterval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000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ilureRateThreshold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0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ConsumerBufferSize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ckendB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b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ingBufferSizeInClosedState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ingBufferSizeInHalfOpenState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aitInterval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000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ilureRateThreshold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0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ConsumerBufferSize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endParaRPr lang="de-DE" altLang="de-DE" sz="36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2921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What are HIGHER ORDER FUNCTIONS?</a:t>
            </a:r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408727" y="874241"/>
            <a:ext cx="8834438" cy="1684691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sp>
        <p:nvSpPr>
          <p:cNvPr id="15" name="Freeform 8"/>
          <p:cNvSpPr>
            <a:spLocks/>
          </p:cNvSpPr>
          <p:nvPr/>
        </p:nvSpPr>
        <p:spPr bwMode="gray">
          <a:xfrm>
            <a:off x="176855" y="748888"/>
            <a:ext cx="10409690" cy="1228986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Functions can be passed as parameters 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Functions can be returned as a result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Separation of responsibilities (separation </a:t>
            </a:r>
            <a:r>
              <a:rPr lang="de-DE" sz="2400" dirty="0" err="1"/>
              <a:t>of</a:t>
            </a:r>
            <a:r>
              <a:rPr lang="de-DE" sz="2400" dirty="0"/>
              <a:t> </a:t>
            </a:r>
            <a:r>
              <a:rPr lang="de-DE" sz="2400" dirty="0" err="1"/>
              <a:t>Concerns</a:t>
            </a:r>
            <a:r>
              <a:rPr lang="de-DE" sz="2400" dirty="0"/>
              <a:t>)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Patterns: Execute-</a:t>
            </a:r>
            <a:r>
              <a:rPr lang="de-DE" sz="2400" dirty="0" err="1"/>
              <a:t>Around</a:t>
            </a:r>
            <a:r>
              <a:rPr lang="de-DE" sz="2400" dirty="0"/>
              <a:t>, </a:t>
            </a:r>
            <a:r>
              <a:rPr lang="de-DE" sz="2400" dirty="0" err="1"/>
              <a:t>Deferred</a:t>
            </a:r>
            <a:r>
              <a:rPr lang="de-DE" sz="2400" dirty="0"/>
              <a:t> </a:t>
            </a:r>
            <a:r>
              <a:rPr lang="de-DE" sz="2400" dirty="0" err="1"/>
              <a:t>Execution</a:t>
            </a:r>
            <a:r>
              <a:rPr lang="de-DE" sz="2400" dirty="0"/>
              <a:t>, </a:t>
            </a:r>
            <a:r>
              <a:rPr lang="de-DE" sz="2400" dirty="0" err="1"/>
              <a:t>Decorator</a:t>
            </a:r>
            <a:r>
              <a:rPr lang="de-DE" sz="2400" dirty="0"/>
              <a:t>, </a:t>
            </a:r>
            <a:r>
              <a:rPr lang="de-DE" sz="2400" dirty="0" err="1"/>
              <a:t>Strategy</a:t>
            </a:r>
            <a:r>
              <a:rPr lang="de-DE" sz="2400" dirty="0"/>
              <a:t>, Template </a:t>
            </a:r>
            <a:r>
              <a:rPr lang="de-DE" sz="2400" dirty="0" err="1"/>
              <a:t>Method</a:t>
            </a:r>
            <a:endParaRPr lang="de-DE" sz="2400" dirty="0"/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sp>
        <p:nvSpPr>
          <p:cNvPr id="37" name="Pfeil: nach rechts 36"/>
          <p:cNvSpPr/>
          <p:nvPr/>
        </p:nvSpPr>
        <p:spPr bwMode="gray">
          <a:xfrm>
            <a:off x="2818750" y="4435944"/>
            <a:ext cx="143104" cy="140859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39" name="Textfeld 38"/>
          <p:cNvSpPr txBox="1"/>
          <p:nvPr/>
        </p:nvSpPr>
        <p:spPr>
          <a:xfrm>
            <a:off x="2929596" y="3336471"/>
            <a:ext cx="2425531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defTabSz="457322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1800" dirty="0">
                <a:ea typeface="Swagger" pitchFamily="2" charset="0"/>
              </a:rPr>
              <a:t>Higher order function</a:t>
            </a:r>
          </a:p>
        </p:txBody>
      </p:sp>
      <p:cxnSp>
        <p:nvCxnSpPr>
          <p:cNvPr id="40" name="Gerade Verbindung mit Pfeil 39"/>
          <p:cNvCxnSpPr/>
          <p:nvPr/>
        </p:nvCxnSpPr>
        <p:spPr>
          <a:xfrm>
            <a:off x="3934927" y="3799254"/>
            <a:ext cx="0" cy="315270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Pfeil: Fünfeck 29"/>
          <p:cNvSpPr/>
          <p:nvPr/>
        </p:nvSpPr>
        <p:spPr bwMode="gray">
          <a:xfrm>
            <a:off x="3259257" y="4292244"/>
            <a:ext cx="1649337" cy="418519"/>
          </a:xfrm>
          <a:prstGeom prst="homePlat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err="1">
                <a:cs typeface="Arial" charset="0"/>
              </a:rPr>
              <a:t>withRecovery</a:t>
            </a:r>
            <a:r>
              <a:rPr lang="de-DE" sz="1800" dirty="0">
                <a:cs typeface="Arial" charset="0"/>
              </a:rPr>
              <a:t>()</a:t>
            </a:r>
          </a:p>
        </p:txBody>
      </p:sp>
      <p:sp>
        <p:nvSpPr>
          <p:cNvPr id="31" name="Pfeil: Fünfeck 30"/>
          <p:cNvSpPr/>
          <p:nvPr/>
        </p:nvSpPr>
        <p:spPr bwMode="gray">
          <a:xfrm>
            <a:off x="5284824" y="4151725"/>
            <a:ext cx="3178406" cy="713886"/>
          </a:xfrm>
          <a:prstGeom prst="homePlat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>
                <a:cs typeface="Arial" charset="0"/>
              </a:rPr>
              <a:t>Business logic with error handling and </a:t>
            </a:r>
            <a:r>
              <a:rPr lang="de-DE" sz="1800" dirty="0" err="1">
                <a:cs typeface="Arial" charset="0"/>
              </a:rPr>
              <a:t>Fallback</a:t>
            </a:r>
            <a:endParaRPr lang="de-DE" sz="1800" dirty="0">
              <a:cs typeface="Arial" charset="0"/>
            </a:endParaRPr>
          </a:p>
        </p:txBody>
      </p:sp>
      <p:sp>
        <p:nvSpPr>
          <p:cNvPr id="44" name="Pfeil: Fünfeck 43"/>
          <p:cNvSpPr/>
          <p:nvPr/>
        </p:nvSpPr>
        <p:spPr bwMode="gray">
          <a:xfrm>
            <a:off x="753892" y="3799254"/>
            <a:ext cx="1823345" cy="387136"/>
          </a:xfrm>
          <a:prstGeom prst="homePlat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>
                <a:cs typeface="Arial" charset="0"/>
              </a:rPr>
              <a:t>Business logic</a:t>
            </a:r>
          </a:p>
        </p:txBody>
      </p:sp>
      <p:sp>
        <p:nvSpPr>
          <p:cNvPr id="45" name="Pfeil: Fünfeck 44"/>
          <p:cNvSpPr/>
          <p:nvPr/>
        </p:nvSpPr>
        <p:spPr bwMode="gray">
          <a:xfrm>
            <a:off x="753892" y="4323627"/>
            <a:ext cx="1816943" cy="387136"/>
          </a:xfrm>
          <a:prstGeom prst="homePlat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>
                <a:cs typeface="Arial" charset="0"/>
              </a:rPr>
              <a:t>Error handling</a:t>
            </a:r>
          </a:p>
        </p:txBody>
      </p:sp>
      <p:sp>
        <p:nvSpPr>
          <p:cNvPr id="46" name="Pfeil: Fünfeck 45"/>
          <p:cNvSpPr/>
          <p:nvPr/>
        </p:nvSpPr>
        <p:spPr bwMode="gray">
          <a:xfrm>
            <a:off x="753892" y="4865611"/>
            <a:ext cx="1816943" cy="387136"/>
          </a:xfrm>
          <a:prstGeom prst="homePlat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err="1">
                <a:cs typeface="Arial" charset="0"/>
              </a:rPr>
              <a:t>Fallback</a:t>
            </a:r>
            <a:endParaRPr lang="de-DE" sz="1800" dirty="0">
              <a:cs typeface="Arial" charset="0"/>
            </a:endParaRPr>
          </a:p>
        </p:txBody>
      </p:sp>
      <p:sp>
        <p:nvSpPr>
          <p:cNvPr id="47" name="Pfeil: nach rechts 46"/>
          <p:cNvSpPr/>
          <p:nvPr/>
        </p:nvSpPr>
        <p:spPr bwMode="gray">
          <a:xfrm rot="3031854">
            <a:off x="2794923" y="4057120"/>
            <a:ext cx="143104" cy="140859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48" name="Pfeil: nach rechts 47"/>
          <p:cNvSpPr/>
          <p:nvPr/>
        </p:nvSpPr>
        <p:spPr bwMode="gray">
          <a:xfrm rot="19166885">
            <a:off x="2797471" y="4906354"/>
            <a:ext cx="143104" cy="140859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1120410" y="2850473"/>
            <a:ext cx="1082772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defTabSz="457322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1800" dirty="0">
                <a:ea typeface="Swagger" pitchFamily="2" charset="0"/>
              </a:rPr>
              <a:t>Functions</a:t>
            </a:r>
          </a:p>
        </p:txBody>
      </p:sp>
      <p:cxnSp>
        <p:nvCxnSpPr>
          <p:cNvPr id="17" name="Gerade Verbindung mit Pfeil 16"/>
          <p:cNvCxnSpPr/>
          <p:nvPr/>
        </p:nvCxnSpPr>
        <p:spPr>
          <a:xfrm>
            <a:off x="1661796" y="3305375"/>
            <a:ext cx="0" cy="315270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0154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Resilience4j: Spring Boot - </a:t>
            </a:r>
            <a:r>
              <a:rPr lang="de-DE" dirty="0" err="1"/>
              <a:t>Health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50</a:t>
            </a:fld>
            <a:endParaRPr lang="en-US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288781" y="1083324"/>
            <a:ext cx="10907219" cy="5262979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tu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UP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ckendA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tu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DOWN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ilureRate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60.0%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ilureRateThreshold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50.0%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xBufferedCall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fferedCall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iledCall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PermittedCall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b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ckendB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tu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UP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ilureRate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0.0%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ilureRateThreshold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50.0%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xBufferedCall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fferedCall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iledCall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PermittedCall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b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921432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Resilience4j: Spring Boot - METRIC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51</a:t>
            </a:fld>
            <a:endParaRPr lang="en-US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324000" y="1284801"/>
            <a:ext cx="10907219" cy="3046988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esilience4j.circuitbreaker.backendA.successful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esilience4j.circuitbreaker.backendA.failed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esilience4j.circuitbreaker.backendA.buffered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esilience4j.circuitbreaker.backendA.buffered_max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esilience4j.circuitbreaker.backendA.not_permitted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th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esilience4j.circuitbreaker.backendB.successful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esilience4j.circuitbreaker.backendB.failed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esilience4j.circuitbreaker.backendB.buffered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esilience4j.circuitbreaker.backendB.buffered_max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esilience4j.circuitbreaker.backendB.not_permitted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b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de-DE" altLang="de-DE" sz="36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5857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Resilience4j: Spring Boot - EVENT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52</a:t>
            </a:fld>
            <a:endParaRPr lang="en-US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229407" y="1003338"/>
            <a:ext cx="10907219" cy="4524315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Event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Name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ckendA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type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SUCCESS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ionTime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2017-01-10T15: 39: 20.518 + 01: 00 [Europe / Berlin]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urationInM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b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Name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ckendB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type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ERROR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ionTime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2017-01-10T15: 41: 31.159 + 01: 00 [Europe / Berlin]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rrorMessage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g.springframework.web.client.HttpServerErrorException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500 This </a:t>
            </a:r>
            <a:r>
              <a:rPr lang="de-DE" altLang="de-DE" sz="16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 remote </a:t>
            </a:r>
            <a:r>
              <a:rPr lang="de-DE" altLang="de-DE" sz="16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urationInM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0</a:t>
            </a:r>
            <a:b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]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de-DE" altLang="de-DE" sz="36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821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53</a:t>
            </a:fld>
            <a:endParaRPr lang="en-US" dirty="0"/>
          </a:p>
        </p:txBody>
      </p:sp>
      <p:sp>
        <p:nvSpPr>
          <p:cNvPr id="7" name="Textfeld 6"/>
          <p:cNvSpPr txBox="1"/>
          <p:nvPr/>
        </p:nvSpPr>
        <p:spPr>
          <a:xfrm>
            <a:off x="3390571" y="291662"/>
            <a:ext cx="4623620" cy="1487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defTabSz="457322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9600" dirty="0">
                <a:ea typeface="Swagger" pitchFamily="2" charset="0"/>
              </a:rPr>
              <a:t>ASK?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2"/>
          <a:srcRect b="7610"/>
          <a:stretch/>
        </p:blipFill>
        <p:spPr>
          <a:xfrm>
            <a:off x="1537139" y="1697759"/>
            <a:ext cx="7803930" cy="4463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315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What are HIGHER ORDER FUNCTIONS?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6</a:t>
            </a:fld>
            <a:endParaRPr lang="en-US" dirty="0"/>
          </a:p>
        </p:txBody>
      </p:sp>
      <p:sp>
        <p:nvSpPr>
          <p:cNvPr id="16" name="Rectangle 8"/>
          <p:cNvSpPr>
            <a:spLocks noChangeArrowheads="1"/>
          </p:cNvSpPr>
          <p:nvPr/>
        </p:nvSpPr>
        <p:spPr bwMode="auto">
          <a:xfrm>
            <a:off x="252835" y="815502"/>
            <a:ext cx="11014329" cy="4893647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ivate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de-DE" altLang="de-DE" sz="2400" dirty="0">
                <a:solidFill>
                  <a:srgbClr val="50787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400" dirty="0">
                <a:solidFill>
                  <a:srgbClr val="50787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.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 Function1 &lt;</a:t>
            </a:r>
            <a:r>
              <a:rPr lang="de-DE" altLang="de-DE" sz="2400" dirty="0">
                <a:solidFill>
                  <a:srgbClr val="50787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400" dirty="0">
                <a:solidFill>
                  <a:srgbClr val="50787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.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de-DE" altLang="de-DE" sz="2400" dirty="0" err="1">
                <a:solidFill>
                  <a:srgbClr val="FFC66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Recovery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b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CheckedFunction1 &lt;</a:t>
            </a:r>
            <a:r>
              <a:rPr lang="de-DE" altLang="de-DE" sz="2400" dirty="0">
                <a:solidFill>
                  <a:srgbClr val="50787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400" dirty="0">
                <a:solidFill>
                  <a:srgbClr val="50787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.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umer &lt;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Handler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1 &lt;</a:t>
            </a:r>
            <a:r>
              <a:rPr lang="de-DE" altLang="de-DE" sz="2400" dirty="0">
                <a:solidFill>
                  <a:srgbClr val="50787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400" dirty="0">
                <a:solidFill>
                  <a:srgbClr val="50787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.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coveryFunction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  <a:b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400" dirty="0">
                <a:solidFill>
                  <a:srgbClr val="50787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) -&gt; {</a:t>
            </a:r>
            <a:b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y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 err="1">
                <a:solidFill>
                  <a:srgbClr val="B389C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apply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t)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 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tch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ex) {</a:t>
            </a:r>
            <a:b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 err="1">
                <a:solidFill>
                  <a:srgbClr val="B389C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Handler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accept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ex)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 err="1">
                <a:solidFill>
                  <a:srgbClr val="B389C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coveryFunction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apply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t)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b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}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de-DE" altLang="de-DE" sz="24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6335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What are HIGHER ORDER FUNCTIONS?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7</a:t>
            </a:fld>
            <a:endParaRPr lang="en-US" dirty="0"/>
          </a:p>
        </p:txBody>
      </p:sp>
      <p:sp>
        <p:nvSpPr>
          <p:cNvPr id="16" name="Rectangle 8"/>
          <p:cNvSpPr>
            <a:spLocks noChangeArrowheads="1"/>
          </p:cNvSpPr>
          <p:nvPr/>
        </p:nvSpPr>
        <p:spPr bwMode="auto">
          <a:xfrm>
            <a:off x="252835" y="2129657"/>
            <a:ext cx="11014329" cy="2123658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1 &lt;String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ing&gt;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WithRecovery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Recovery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b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put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-&gt; </a:t>
            </a:r>
            <a:r>
              <a:rPr lang="de-DE" altLang="de-DE" sz="2200" dirty="0" err="1">
                <a:solidFill>
                  <a:srgbClr val="B389C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put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 -&gt;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Exception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ex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put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-&gt; 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ello to "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+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put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b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WithRecovery.apply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JUG Darmstadt"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DE" altLang="de-DE" sz="48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6639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What are HIGHER ORDER FUNCTIONS?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8</a:t>
            </a:fld>
            <a:endParaRPr lang="en-US" dirty="0"/>
          </a:p>
        </p:txBody>
      </p:sp>
      <p:sp>
        <p:nvSpPr>
          <p:cNvPr id="16" name="Rectangle 8"/>
          <p:cNvSpPr>
            <a:spLocks noChangeArrowheads="1"/>
          </p:cNvSpPr>
          <p:nvPr/>
        </p:nvSpPr>
        <p:spPr bwMode="auto">
          <a:xfrm>
            <a:off x="252835" y="1574555"/>
            <a:ext cx="11014329" cy="3785652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heckedFunction1 &lt;String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ing&gt;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</a:p>
          <a:p>
            <a:pPr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String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put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-&gt; </a:t>
            </a:r>
            <a:r>
              <a:rPr lang="de-DE" altLang="de-DE" sz="2400" dirty="0" err="1">
                <a:solidFill>
                  <a:srgbClr val="B389C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put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1 &lt;String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ing&gt;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WithRecovery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.recover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ex -&gt; {</a:t>
            </a:r>
            <a:b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Exception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ex)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put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-&gt; </a:t>
            </a:r>
            <a:r>
              <a:rPr lang="de-DE" altLang="de-DE" sz="24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ello to "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+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put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)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algn="l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b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WithRecovery.apply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4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JUG Darmstadt"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de-DE" altLang="de-DE" sz="4800" dirty="0">
              <a:latin typeface="Arial" panose="020B0604020202020204" pitchFamily="34" charset="0"/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252834" y="756000"/>
            <a:ext cx="10341593" cy="4604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VAVR has the </a:t>
            </a:r>
            <a:r>
              <a:rPr lang="de-DE" dirty="0" err="1"/>
              <a:t>Recovery</a:t>
            </a:r>
            <a:r>
              <a:rPr lang="de-DE" dirty="0"/>
              <a:t>-Function with built-in</a:t>
            </a:r>
          </a:p>
        </p:txBody>
      </p:sp>
    </p:spTree>
    <p:extLst>
      <p:ext uri="{BB962C8B-B14F-4D97-AF65-F5344CB8AC3E}">
        <p14:creationId xmlns:p14="http://schemas.microsoft.com/office/powerpoint/2010/main" val="3010638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 bwMode="gray">
          <a:xfrm>
            <a:off x="2809505" y="3139989"/>
            <a:ext cx="4772310" cy="1710648"/>
          </a:xfrm>
          <a:prstGeom prst="rect">
            <a:avLst/>
          </a:prstGeom>
          <a:pattFill prst="wdUpDiag">
            <a:fgClr>
              <a:srgbClr val="FFD9D9"/>
            </a:fgClr>
            <a:bgClr>
              <a:schemeClr val="bg1"/>
            </a:bgClr>
          </a:pattFill>
          <a:ln w="19050" algn="ctr">
            <a:noFill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de-DE" dirty="0"/>
              <a:t>WHAT is Referential Transparency? 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>
          <a:xfrm>
            <a:off x="10830875" y="5997197"/>
            <a:ext cx="365125" cy="274637"/>
          </a:xfrm>
        </p:spPr>
        <p:txBody>
          <a:bodyPr/>
          <a:lstStyle/>
          <a:p>
            <a:pPr algn="l" rtl="0" fontAlgn="base">
              <a:spcAft>
                <a:spcPct val="0"/>
              </a:spcAft>
            </a:pPr>
            <a:fld id="{31ED8236-F742-4994-B025-3D78EEC04644}" type="slidenum">
              <a:rPr lang="en-US" smtClean="0"/>
              <a:pPr algn="l" rtl="0" fontAlgn="base">
                <a:spcAft>
                  <a:spcPct val="0"/>
                </a:spcAft>
              </a:pPr>
              <a:t>9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756000"/>
            <a:ext cx="8834438" cy="1838050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The call </a:t>
            </a:r>
            <a:r>
              <a:rPr lang="de-DE" sz="2400" dirty="0"/>
              <a:t>a function with the same parameters always delivers the same result and is therefore independent of the context</a:t>
            </a:r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 err="1"/>
              <a:t>Functions</a:t>
            </a:r>
            <a:r>
              <a:rPr lang="en-US" sz="2400" dirty="0"/>
              <a:t> </a:t>
            </a:r>
            <a:r>
              <a:rPr lang="en-US" sz="2400" dirty="0" err="1"/>
              <a:t>without</a:t>
            </a:r>
            <a:r>
              <a:rPr lang="en-US" sz="2400" dirty="0"/>
              <a:t> </a:t>
            </a:r>
            <a:r>
              <a:rPr lang="en-US" sz="2400" dirty="0" err="1"/>
              <a:t>Side effects</a:t>
            </a:r>
            <a:endParaRPr lang="en-US" sz="2400" dirty="0"/>
          </a:p>
          <a:p>
            <a:pPr marL="792072" lvl="1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 err="1"/>
              <a:t>are</a:t>
            </a:r>
            <a:r>
              <a:rPr lang="en-US" sz="2400" dirty="0"/>
              <a:t> </a:t>
            </a:r>
            <a:r>
              <a:rPr lang="en-US" sz="2400" dirty="0" err="1"/>
              <a:t>lighter</a:t>
            </a:r>
            <a:r>
              <a:rPr lang="en-US" sz="2400" dirty="0"/>
              <a:t> </a:t>
            </a:r>
            <a:r>
              <a:rPr lang="en-US" sz="2400" dirty="0" err="1"/>
              <a:t>to</a:t>
            </a:r>
            <a:r>
              <a:rPr lang="en-US" sz="2400" dirty="0"/>
              <a:t> </a:t>
            </a:r>
            <a:r>
              <a:rPr lang="en-US" sz="2400" dirty="0" err="1"/>
              <a:t>testing</a:t>
            </a:r>
            <a:r>
              <a:rPr lang="en-US" sz="2400" dirty="0"/>
              <a:t> </a:t>
            </a:r>
          </a:p>
          <a:p>
            <a:pPr marL="792072" lvl="1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 err="1"/>
              <a:t>can</a:t>
            </a:r>
            <a:r>
              <a:rPr lang="en-US" sz="2400" dirty="0"/>
              <a:t> </a:t>
            </a:r>
            <a:r>
              <a:rPr lang="en-US" sz="2400" dirty="0" err="1"/>
              <a:t>With</a:t>
            </a:r>
            <a:r>
              <a:rPr lang="en-US" sz="2400" dirty="0"/>
              <a:t> </a:t>
            </a:r>
            <a:r>
              <a:rPr lang="en-US" sz="2400" dirty="0" err="1"/>
              <a:t>other</a:t>
            </a:r>
            <a:r>
              <a:rPr lang="en-US" sz="2400" dirty="0"/>
              <a:t> </a:t>
            </a:r>
            <a:r>
              <a:rPr lang="en-US" sz="2400" dirty="0" err="1"/>
              <a:t>Functions</a:t>
            </a:r>
            <a:r>
              <a:rPr lang="en-US" sz="2400" dirty="0"/>
              <a:t> </a:t>
            </a:r>
            <a:r>
              <a:rPr lang="en-US" sz="2400" dirty="0" err="1"/>
              <a:t>combined</a:t>
            </a:r>
            <a:r>
              <a:rPr lang="en-US" sz="2400" dirty="0"/>
              <a:t> </a:t>
            </a:r>
            <a:r>
              <a:rPr lang="en-US" sz="2400" dirty="0" err="1"/>
              <a:t>become</a:t>
            </a:r>
            <a:endParaRPr lang="en-US" sz="2400" dirty="0"/>
          </a:p>
          <a:p>
            <a:pPr marL="216000" indent="-216000" algn="l" rtl="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</p:txBody>
      </p:sp>
      <p:sp>
        <p:nvSpPr>
          <p:cNvPr id="14" name="Rechteck 13"/>
          <p:cNvSpPr/>
          <p:nvPr/>
        </p:nvSpPr>
        <p:spPr>
          <a:xfrm>
            <a:off x="2842857" y="4929467"/>
            <a:ext cx="443368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 rtl="0"/>
            <a:r>
              <a:rPr lang="de-DE" sz="36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X</a:t>
            </a:r>
          </a:p>
        </p:txBody>
      </p:sp>
      <p:sp>
        <p:nvSpPr>
          <p:cNvPr id="15" name="Rechteck 14"/>
          <p:cNvSpPr/>
          <p:nvPr/>
        </p:nvSpPr>
        <p:spPr>
          <a:xfrm>
            <a:off x="5061745" y="4979409"/>
            <a:ext cx="443368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 rtl="0"/>
            <a:r>
              <a:rPr lang="de-DE" sz="36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Y</a:t>
            </a:r>
          </a:p>
        </p:txBody>
      </p:sp>
      <p:sp>
        <p:nvSpPr>
          <p:cNvPr id="16" name="Rechteck 15"/>
          <p:cNvSpPr/>
          <p:nvPr/>
        </p:nvSpPr>
        <p:spPr>
          <a:xfrm>
            <a:off x="7087133" y="4979776"/>
            <a:ext cx="443368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 rtl="0"/>
            <a:r>
              <a:rPr lang="de-DE" sz="36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Z</a:t>
            </a:r>
          </a:p>
        </p:txBody>
      </p:sp>
      <p:sp>
        <p:nvSpPr>
          <p:cNvPr id="17" name="Pfeil: nach rechts 16"/>
          <p:cNvSpPr/>
          <p:nvPr/>
        </p:nvSpPr>
        <p:spPr bwMode="gray">
          <a:xfrm>
            <a:off x="5525216" y="5248428"/>
            <a:ext cx="143104" cy="140859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18" name="Pfeil: Fünfeck 17"/>
          <p:cNvSpPr/>
          <p:nvPr/>
        </p:nvSpPr>
        <p:spPr bwMode="gray">
          <a:xfrm>
            <a:off x="3690896" y="5101566"/>
            <a:ext cx="1245476" cy="418519"/>
          </a:xfrm>
          <a:prstGeom prst="homePlat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>
                <a:cs typeface="Arial" charset="0"/>
              </a:rPr>
              <a:t>Function a</a:t>
            </a:r>
          </a:p>
        </p:txBody>
      </p:sp>
      <p:sp>
        <p:nvSpPr>
          <p:cNvPr id="19" name="Pfeil: Fünfeck 18"/>
          <p:cNvSpPr/>
          <p:nvPr/>
        </p:nvSpPr>
        <p:spPr bwMode="gray">
          <a:xfrm>
            <a:off x="5831843" y="5101566"/>
            <a:ext cx="1245476" cy="418519"/>
          </a:xfrm>
          <a:prstGeom prst="homePlat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>
                <a:cs typeface="Arial" charset="0"/>
              </a:rPr>
              <a:t>Function B</a:t>
            </a:r>
          </a:p>
        </p:txBody>
      </p:sp>
      <p:sp>
        <p:nvSpPr>
          <p:cNvPr id="20" name="Pfeil: nach rechts 19"/>
          <p:cNvSpPr/>
          <p:nvPr/>
        </p:nvSpPr>
        <p:spPr bwMode="gray">
          <a:xfrm>
            <a:off x="3403249" y="5232144"/>
            <a:ext cx="143104" cy="140859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21" name="Gewitterblitz 20"/>
          <p:cNvSpPr/>
          <p:nvPr/>
        </p:nvSpPr>
        <p:spPr bwMode="gray">
          <a:xfrm>
            <a:off x="6071489" y="4310147"/>
            <a:ext cx="296915" cy="476754"/>
          </a:xfrm>
          <a:prstGeom prst="lightningBolt">
            <a:avLst/>
          </a:prstGeom>
          <a:solidFill>
            <a:srgbClr val="FF0000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5226747" y="3826559"/>
            <a:ext cx="2303754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defTabSz="457322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1800" dirty="0">
                <a:ea typeface="Swagger" pitchFamily="2" charset="0"/>
              </a:rPr>
              <a:t>Throws an error message</a:t>
            </a:r>
          </a:p>
        </p:txBody>
      </p:sp>
      <p:sp>
        <p:nvSpPr>
          <p:cNvPr id="23" name="Rechteck: gefaltete Ecke 22"/>
          <p:cNvSpPr/>
          <p:nvPr/>
        </p:nvSpPr>
        <p:spPr bwMode="gray">
          <a:xfrm>
            <a:off x="3344897" y="3396365"/>
            <a:ext cx="1491729" cy="826076"/>
          </a:xfrm>
          <a:prstGeom prst="foldedCorner">
            <a:avLst>
              <a:gd name="adj" fmla="val 16363"/>
            </a:avLst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u="sng" dirty="0">
                <a:cs typeface="Arial" charset="0"/>
              </a:rPr>
              <a:t>Class a</a:t>
            </a:r>
          </a:p>
          <a:p>
            <a:pPr indent="3175" algn="ctr" defTabSz="457293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err="1">
                <a:cs typeface="Arial" charset="0"/>
              </a:rPr>
              <a:t>Instance variable</a:t>
            </a:r>
            <a:endParaRPr lang="de-DE" sz="1800" dirty="0">
              <a:cs typeface="Arial" charset="0"/>
            </a:endParaRPr>
          </a:p>
        </p:txBody>
      </p:sp>
      <p:cxnSp>
        <p:nvCxnSpPr>
          <p:cNvPr id="25" name="Gerade Verbindung mit Pfeil 24"/>
          <p:cNvCxnSpPr/>
          <p:nvPr/>
        </p:nvCxnSpPr>
        <p:spPr>
          <a:xfrm flipV="1">
            <a:off x="4313634" y="4212836"/>
            <a:ext cx="0" cy="628196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Textfeld 35"/>
          <p:cNvSpPr txBox="1"/>
          <p:nvPr/>
        </p:nvSpPr>
        <p:spPr>
          <a:xfrm>
            <a:off x="2896217" y="4383852"/>
            <a:ext cx="1396583" cy="338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defTabSz="457322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1800" dirty="0" err="1">
                <a:ea typeface="Swagger" pitchFamily="2" charset="0"/>
              </a:rPr>
              <a:t>Modified</a:t>
            </a:r>
            <a:r>
              <a:rPr lang="de-DE" sz="1800" dirty="0">
                <a:ea typeface="Swagger" pitchFamily="2" charset="0"/>
              </a:rPr>
              <a:t>/read</a:t>
            </a:r>
          </a:p>
        </p:txBody>
      </p:sp>
      <p:sp>
        <p:nvSpPr>
          <p:cNvPr id="42" name="Rechteck 41"/>
          <p:cNvSpPr/>
          <p:nvPr/>
        </p:nvSpPr>
        <p:spPr bwMode="gray">
          <a:xfrm>
            <a:off x="2809504" y="4855981"/>
            <a:ext cx="4769069" cy="885318"/>
          </a:xfrm>
          <a:prstGeom prst="rect">
            <a:avLst/>
          </a:prstGeom>
          <a:noFill/>
          <a:ln w="19050" algn="ctr">
            <a:solidFill>
              <a:srgbClr val="00B050"/>
            </a:solidFill>
            <a:prstDash val="dash"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46" name="Pfeil: nach rechts 45"/>
          <p:cNvSpPr/>
          <p:nvPr/>
        </p:nvSpPr>
        <p:spPr bwMode="gray">
          <a:xfrm>
            <a:off x="3819443" y="6101524"/>
            <a:ext cx="2680138" cy="170309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47" name="Textfeld 46"/>
          <p:cNvSpPr txBox="1"/>
          <p:nvPr/>
        </p:nvSpPr>
        <p:spPr>
          <a:xfrm>
            <a:off x="4405370" y="5816949"/>
            <a:ext cx="1191398" cy="338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defTabSz="457322" rtl="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1800" dirty="0">
                <a:ea typeface="Swagger" pitchFamily="2" charset="0"/>
              </a:rPr>
              <a:t>Control flow</a:t>
            </a:r>
          </a:p>
        </p:txBody>
      </p:sp>
    </p:spTree>
    <p:extLst>
      <p:ext uri="{BB962C8B-B14F-4D97-AF65-F5344CB8AC3E}">
        <p14:creationId xmlns:p14="http://schemas.microsoft.com/office/powerpoint/2010/main" val="3950403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lekom 16:9 2015 INT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0" rIns="72000" bIns="36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spAutoFit/>
      </a:bodyPr>
      <a:lstStyle>
        <a:defPPr defTabSz="457322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chemeClr val="tx1"/>
          </a:buClr>
          <a:buSzPct val="75000"/>
          <a:defRPr sz="1800" dirty="0" err="1" smtClean="0">
            <a:ea typeface="Swagger" pitchFamily="2" charset="0"/>
          </a:defRPr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zu9_Chartpool_20150608.pptx" id="{B1452720-7520-4D9E-B9ED-20AEF7CACA91}" vid="{0A44F166-3C81-41C7-882D-66DB7ABEEA43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_MASTER_16-9_EN_20150828</Template>
  <TotalTime>911</TotalTime>
  <Words>4860</Words>
  <Application>Microsoft Office PowerPoint</Application>
  <PresentationFormat>Custom</PresentationFormat>
  <Paragraphs>398</Paragraphs>
  <Slides>5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3</vt:i4>
      </vt:variant>
    </vt:vector>
  </HeadingPairs>
  <TitlesOfParts>
    <vt:vector size="64" baseType="lpstr">
      <vt:lpstr>Arial</vt:lpstr>
      <vt:lpstr>Courier New</vt:lpstr>
      <vt:lpstr>TeleGrotesk Headline</vt:lpstr>
      <vt:lpstr>TeleGrotesk Headline Ultra</vt:lpstr>
      <vt:lpstr>Tele-GroteskFet</vt:lpstr>
      <vt:lpstr>Tele-GroteskNor</vt:lpstr>
      <vt:lpstr>Tele-GroteskUlt</vt:lpstr>
      <vt:lpstr>Wingdings</vt:lpstr>
      <vt:lpstr>Wingdings 2</vt:lpstr>
      <vt:lpstr>Telekom 16:9 2015 INT</vt:lpstr>
      <vt:lpstr>think-cell Folie</vt:lpstr>
      <vt:lpstr>Functional programming With Vavr and Resilience4j </vt:lpstr>
      <vt:lpstr>WHAT does functionals programming out?</vt:lpstr>
      <vt:lpstr>Composition of FUNCTIONS</vt:lpstr>
      <vt:lpstr>Composition of FUNCTIONS</vt:lpstr>
      <vt:lpstr>What are HIGHER ORDER FUNCTIONS?</vt:lpstr>
      <vt:lpstr>What are HIGHER ORDER FUNCTIONS?</vt:lpstr>
      <vt:lpstr>What are HIGHER ORDER FUNCTIONS?</vt:lpstr>
      <vt:lpstr>What are HIGHER ORDER FUNCTIONS?</vt:lpstr>
      <vt:lpstr>WHAT is Referential Transparency? </vt:lpstr>
      <vt:lpstr>(PURE) Functions with no side effects</vt:lpstr>
      <vt:lpstr>FUNCTIONAL error handling</vt:lpstr>
      <vt:lpstr>FUNCTIONAL error handling</vt:lpstr>
      <vt:lpstr>Function with side effects</vt:lpstr>
      <vt:lpstr>FUNCTION WITHOUT SIDE EFFECT</vt:lpstr>
      <vt:lpstr>imperative vs. functional: Separation of CONCERNS</vt:lpstr>
      <vt:lpstr>What are persistent data structures?</vt:lpstr>
      <vt:lpstr>Functional PROGRAMMING with JAVA 8</vt:lpstr>
      <vt:lpstr>JAVASLANG IS now VAVR</vt:lpstr>
      <vt:lpstr>What is VAVR?</vt:lpstr>
      <vt:lpstr>VAVR: persistent data structures</vt:lpstr>
      <vt:lpstr>VAVR: persistent data structures</vt:lpstr>
      <vt:lpstr>VAVR: persistent data structures</vt:lpstr>
      <vt:lpstr>VAVR: Algebraic data types    </vt:lpstr>
      <vt:lpstr>VAVR: TUPLES   </vt:lpstr>
      <vt:lpstr>VAVR: Try   </vt:lpstr>
      <vt:lpstr>VAVR: EITHER   </vt:lpstr>
      <vt:lpstr>VAVR: option   </vt:lpstr>
      <vt:lpstr>VAVR: Lazy   </vt:lpstr>
      <vt:lpstr>VAVR: Functions - Currying </vt:lpstr>
      <vt:lpstr>VAVR: Functions - Memoization  </vt:lpstr>
      <vt:lpstr>VAVR: Functions - lifting   </vt:lpstr>
      <vt:lpstr>VAVR: PATTERN MATCHING   </vt:lpstr>
      <vt:lpstr>VAVR: PATTERN MATCHING   </vt:lpstr>
      <vt:lpstr>VAVR: PATTERN MATCHING   </vt:lpstr>
      <vt:lpstr>What is Resilience4j?</vt:lpstr>
      <vt:lpstr>Resilience4j: CIRCUITBREAKER</vt:lpstr>
      <vt:lpstr>Resilience4j: CIRCUITBREAKER</vt:lpstr>
      <vt:lpstr>Resilience4j: FUNCTION OF HIGHER ORDER</vt:lpstr>
      <vt:lpstr>Resilience4j: CIRCUITBREAKER METRICS</vt:lpstr>
      <vt:lpstr>Resilience4j: CIRCUITBREAKER EVENTS</vt:lpstr>
      <vt:lpstr>Resilience4j: CIRCUITBREAKER RXjava2</vt:lpstr>
      <vt:lpstr>Resilience4j: RETRY</vt:lpstr>
      <vt:lpstr>Resilience4j: Rate limiter</vt:lpstr>
      <vt:lpstr>Resilience4j: Rate limiter</vt:lpstr>
      <vt:lpstr>Resilience4j: BULKHEAD</vt:lpstr>
      <vt:lpstr>Resilience4j: TIMER</vt:lpstr>
      <vt:lpstr>Resilience4j: Cache</vt:lpstr>
      <vt:lpstr>Resilience4j: Spring Boot</vt:lpstr>
      <vt:lpstr>Resilience4j: Spring Boot - CONFIGURATION</vt:lpstr>
      <vt:lpstr>Resilience4j: Spring Boot - Health</vt:lpstr>
      <vt:lpstr>Resilience4j: Spring Boot - METRICS</vt:lpstr>
      <vt:lpstr>Resilience4j: Spring Boot - EVENTS</vt:lpstr>
      <vt:lpstr>PowerPoint Presentation</vt:lpstr>
    </vt:vector>
  </TitlesOfParts>
  <Company>Detecon International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lekom Powerpoint Master Format 16:9</dc:title>
  <dc:creator>dtc102415</dc:creator>
  <cp:lastModifiedBy>Subramanian Murugan</cp:lastModifiedBy>
  <cp:revision>631</cp:revision>
  <dcterms:created xsi:type="dcterms:W3CDTF">2016-08-19T15:43:19Z</dcterms:created>
  <dcterms:modified xsi:type="dcterms:W3CDTF">2020-08-21T15:20:27Z</dcterms:modified>
</cp:coreProperties>
</file>